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charts/chart4.xml" ContentType="application/vnd.openxmlformats-officedocument.drawingml.chart+xml"/>
  <Override PartName="/ppt/theme/themeOverride1.xml" ContentType="application/vnd.openxmlformats-officedocument.themeOverr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charts/chart5.xml" ContentType="application/vnd.openxmlformats-officedocument.drawingml.chart+xml"/>
  <Override PartName="/ppt/theme/themeOverride2.xml" ContentType="application/vnd.openxmlformats-officedocument.themeOverride+xml"/>
  <Override PartName="/ppt/notesSlides/notesSlide3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4" r:id="rId2"/>
    <p:sldMasterId id="2147483761" r:id="rId3"/>
  </p:sldMasterIdLst>
  <p:notesMasterIdLst>
    <p:notesMasterId r:id="rId20"/>
  </p:notesMasterIdLst>
  <p:handoutMasterIdLst>
    <p:handoutMasterId r:id="rId21"/>
  </p:handoutMasterIdLst>
  <p:sldIdLst>
    <p:sldId id="1277" r:id="rId4"/>
    <p:sldId id="1293" r:id="rId5"/>
    <p:sldId id="1294" r:id="rId6"/>
    <p:sldId id="1296" r:id="rId7"/>
    <p:sldId id="1359" r:id="rId8"/>
    <p:sldId id="1380" r:id="rId9"/>
    <p:sldId id="1378" r:id="rId10"/>
    <p:sldId id="1379" r:id="rId11"/>
    <p:sldId id="1373" r:id="rId12"/>
    <p:sldId id="1372" r:id="rId13"/>
    <p:sldId id="1376" r:id="rId14"/>
    <p:sldId id="1377" r:id="rId15"/>
    <p:sldId id="1343" r:id="rId16"/>
    <p:sldId id="1344" r:id="rId17"/>
    <p:sldId id="1345" r:id="rId18"/>
    <p:sldId id="1346" r:id="rId19"/>
  </p:sldIdLst>
  <p:sldSz cx="12192000" cy="6858000"/>
  <p:notesSz cx="6950075" cy="9236075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Výchozí oddíl" id="{FEEC50D9-8969-43BB-8724-35975469CB2C}">
          <p14:sldIdLst>
            <p14:sldId id="1277"/>
            <p14:sldId id="1293"/>
            <p14:sldId id="1294"/>
            <p14:sldId id="1296"/>
            <p14:sldId id="1359"/>
            <p14:sldId id="1380"/>
            <p14:sldId id="1378"/>
            <p14:sldId id="1379"/>
            <p14:sldId id="1373"/>
            <p14:sldId id="1372"/>
            <p14:sldId id="1376"/>
            <p14:sldId id="1377"/>
            <p14:sldId id="1343"/>
            <p14:sldId id="1344"/>
            <p14:sldId id="1345"/>
            <p14:sldId id="1346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yselý Zdeněk Mgr." initials="KZM" lastIdx="1" clrIdx="0">
    <p:extLst>
      <p:ext uri="{19B8F6BF-5375-455C-9EA6-DF929625EA0E}">
        <p15:presenceInfo xmlns:p15="http://schemas.microsoft.com/office/powerpoint/2012/main" userId="S::kyselyz@mzcr.cz::e6a1abba-87fa-4d0d-8be7-ec655e9b706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B69"/>
    <a:srgbClr val="FF7575"/>
    <a:srgbClr val="FD783D"/>
    <a:srgbClr val="FF572F"/>
    <a:srgbClr val="FF7453"/>
    <a:srgbClr val="FF5D37"/>
    <a:srgbClr val="F1592F"/>
    <a:srgbClr val="FF3300"/>
    <a:srgbClr val="FFD243"/>
    <a:srgbClr val="FF7A5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3296810-A885-4BE3-A3E7-6D5BEEA58F35}" styleName="Střední styl 2 – zvýraznění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8603FDC-E32A-4AB5-989C-0864C3EAD2B8}" styleName="Styl s motivem 2 – zvýraznění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85BE263C-DBD7-4A20-BB59-AAB30ACAA65A}" styleName="Střední styl 3 – zvýraznění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Střední styl 3 – zvýraznění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301B821-A1FF-4177-AEE7-76D212191A09}" styleName="Střední styl 1 – zvýraznění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Světlý styl 2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181" autoAdjust="0"/>
    <p:restoredTop sz="94548" autoAdjust="0"/>
  </p:normalViewPr>
  <p:slideViewPr>
    <p:cSldViewPr snapToGrid="0">
      <p:cViewPr varScale="1">
        <p:scale>
          <a:sx n="82" d="100"/>
          <a:sy n="82" d="100"/>
        </p:scale>
        <p:origin x="67" y="8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50" d="100"/>
        <a:sy n="150" d="100"/>
      </p:scale>
      <p:origin x="0" y="-2784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viewProps" Target="view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presProps" Target="pres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List_aplikace_Microsoft_Excel3.xlsx"/><Relationship Id="rId1" Type="http://schemas.openxmlformats.org/officeDocument/2006/relationships/themeOverride" Target="../theme/themeOverride1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List_aplikace_Microsoft_Excel4.xlsx"/><Relationship Id="rId1" Type="http://schemas.openxmlformats.org/officeDocument/2006/relationships/themeOverride" Target="../theme/themeOverrid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3070-4B09-A3F5-349C6A83B97A}"/>
              </c:ext>
            </c:extLst>
          </c:dPt>
          <c:dPt>
            <c:idx val="7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74C6-4713-9BC4-56C43B03A698}"/>
              </c:ext>
            </c:extLst>
          </c:dPt>
          <c:dPt>
            <c:idx val="8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5B73-42C7-B0A5-249A45A05BDF}"/>
              </c:ext>
            </c:extLst>
          </c:dPt>
          <c:dPt>
            <c:idx val="9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59A7-4D33-8040-2FEBD6AE1194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Jihomoravský kraj</c:v>
                </c:pt>
                <c:pt idx="2">
                  <c:v>Jihočeský kraj</c:v>
                </c:pt>
                <c:pt idx="3">
                  <c:v>Liberecký kraj</c:v>
                </c:pt>
                <c:pt idx="4">
                  <c:v>Plzeňský kraj</c:v>
                </c:pt>
                <c:pt idx="5">
                  <c:v>Zlínský kraj</c:v>
                </c:pt>
                <c:pt idx="6">
                  <c:v>Ústecký kraj</c:v>
                </c:pt>
                <c:pt idx="7">
                  <c:v>Olomoucký kraj</c:v>
                </c:pt>
                <c:pt idx="8">
                  <c:v>ČR</c:v>
                </c:pt>
                <c:pt idx="9">
                  <c:v>Pardubický kraj</c:v>
                </c:pt>
                <c:pt idx="10">
                  <c:v>Středočeský kraj</c:v>
                </c:pt>
                <c:pt idx="11">
                  <c:v>Karlovarský kraj</c:v>
                </c:pt>
                <c:pt idx="12">
                  <c:v>Moravskoslezský kraj</c:v>
                </c:pt>
                <c:pt idx="13">
                  <c:v>Hlavní město Praha</c:v>
                </c:pt>
                <c:pt idx="14">
                  <c:v>Královéhradecký kraj</c:v>
                </c:pt>
              </c:strCache>
            </c:strRef>
          </c:cat>
          <c:val>
            <c:numRef>
              <c:f>Sheet1!$B$2:$B$16</c:f>
              <c:numCache>
                <c:formatCode>0.0%</c:formatCode>
                <c:ptCount val="15"/>
                <c:pt idx="0">
                  <c:v>0.37665324899300001</c:v>
                </c:pt>
                <c:pt idx="1">
                  <c:v>0.32843526608399998</c:v>
                </c:pt>
                <c:pt idx="2">
                  <c:v>0.32313341493199998</c:v>
                </c:pt>
                <c:pt idx="3">
                  <c:v>0.28365384615299999</c:v>
                </c:pt>
                <c:pt idx="4">
                  <c:v>0.28017241379300001</c:v>
                </c:pt>
                <c:pt idx="5">
                  <c:v>0.27593360995799998</c:v>
                </c:pt>
                <c:pt idx="6">
                  <c:v>0.27139037433099999</c:v>
                </c:pt>
                <c:pt idx="7">
                  <c:v>0.24622770919</c:v>
                </c:pt>
                <c:pt idx="8">
                  <c:v>0.240687930504</c:v>
                </c:pt>
                <c:pt idx="9">
                  <c:v>0.234899328859</c:v>
                </c:pt>
                <c:pt idx="10">
                  <c:v>0.190424959655</c:v>
                </c:pt>
                <c:pt idx="11">
                  <c:v>0.188995215311</c:v>
                </c:pt>
                <c:pt idx="12">
                  <c:v>0.17634560906499999</c:v>
                </c:pt>
                <c:pt idx="13">
                  <c:v>0.13921631092699999</c:v>
                </c:pt>
                <c:pt idx="14">
                  <c:v>0.1262553801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70-4B09-A3F5-349C6A83B9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289766016"/>
        <c:axId val="1491627712"/>
      </c:barChart>
      <c:catAx>
        <c:axId val="128976601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91627712"/>
        <c:crosses val="autoZero"/>
        <c:auto val="1"/>
        <c:lblAlgn val="ctr"/>
        <c:lblOffset val="100"/>
        <c:noMultiLvlLbl val="0"/>
      </c:catAx>
      <c:valAx>
        <c:axId val="1491627712"/>
        <c:scaling>
          <c:orientation val="minMax"/>
        </c:scaling>
        <c:delete val="0"/>
        <c:axPos val="t"/>
        <c:numFmt formatCode="0.0%" sourceLinked="1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89766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3070-4B09-A3F5-349C6A83B97A}"/>
              </c:ext>
            </c:extLst>
          </c:dPt>
          <c:dPt>
            <c:idx val="7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6708-428D-9590-EE58214A90A3}"/>
              </c:ext>
            </c:extLst>
          </c:dPt>
          <c:dPt>
            <c:idx val="8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95E3-41DF-9789-939FCE037805}"/>
              </c:ext>
            </c:extLst>
          </c:dPt>
          <c:dPt>
            <c:idx val="9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85D-4210-8188-95336DAD99A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Středočeský kraj</c:v>
                </c:pt>
                <c:pt idx="1">
                  <c:v>Kraj Vysočina</c:v>
                </c:pt>
                <c:pt idx="2">
                  <c:v>Jihomoravský kraj</c:v>
                </c:pt>
                <c:pt idx="3">
                  <c:v>Pardubický kraj</c:v>
                </c:pt>
                <c:pt idx="4">
                  <c:v>Královéhradecký kraj</c:v>
                </c:pt>
                <c:pt idx="5">
                  <c:v>Jihočeský kraj</c:v>
                </c:pt>
                <c:pt idx="6">
                  <c:v>Plzeňský kraj</c:v>
                </c:pt>
                <c:pt idx="7">
                  <c:v>ČR</c:v>
                </c:pt>
                <c:pt idx="8">
                  <c:v>Moravskoslezský kraj</c:v>
                </c:pt>
                <c:pt idx="9">
                  <c:v>Olomoucký kraj</c:v>
                </c:pt>
                <c:pt idx="10">
                  <c:v>Zlínský kraj</c:v>
                </c:pt>
                <c:pt idx="11">
                  <c:v>Ústecký kraj</c:v>
                </c:pt>
                <c:pt idx="12">
                  <c:v>Hlavní město Praha</c:v>
                </c:pt>
                <c:pt idx="13">
                  <c:v>Karlovarský kraj</c:v>
                </c:pt>
                <c:pt idx="14">
                  <c:v>Liberecký kraj</c:v>
                </c:pt>
              </c:strCache>
            </c:strRef>
          </c:cat>
          <c:val>
            <c:numRef>
              <c:f>Sheet1!$B$2:$B$16</c:f>
              <c:numCache>
                <c:formatCode>0.0%</c:formatCode>
                <c:ptCount val="15"/>
                <c:pt idx="0">
                  <c:v>0.48728813559299999</c:v>
                </c:pt>
                <c:pt idx="1">
                  <c:v>0.43434343434299999</c:v>
                </c:pt>
                <c:pt idx="2">
                  <c:v>0.39705882352900002</c:v>
                </c:pt>
                <c:pt idx="3">
                  <c:v>0.36641221373999999</c:v>
                </c:pt>
                <c:pt idx="4">
                  <c:v>0.33043478260800002</c:v>
                </c:pt>
                <c:pt idx="5">
                  <c:v>0.29251700680199999</c:v>
                </c:pt>
                <c:pt idx="6">
                  <c:v>0.27310924369700001</c:v>
                </c:pt>
                <c:pt idx="7">
                  <c:v>0.26846196557399998</c:v>
                </c:pt>
                <c:pt idx="8">
                  <c:v>0.24950495049499999</c:v>
                </c:pt>
                <c:pt idx="9">
                  <c:v>0.24873096446699999</c:v>
                </c:pt>
                <c:pt idx="10">
                  <c:v>0.23118279569799999</c:v>
                </c:pt>
                <c:pt idx="11">
                  <c:v>0.20542635658899999</c:v>
                </c:pt>
                <c:pt idx="12">
                  <c:v>0.151592356687</c:v>
                </c:pt>
                <c:pt idx="13">
                  <c:v>0.144578313253</c:v>
                </c:pt>
                <c:pt idx="14">
                  <c:v>0.131313131312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70-4B09-A3F5-349C6A83B9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289766016"/>
        <c:axId val="1491627712"/>
      </c:barChart>
      <c:catAx>
        <c:axId val="128976601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91627712"/>
        <c:crosses val="autoZero"/>
        <c:auto val="1"/>
        <c:lblAlgn val="ctr"/>
        <c:lblOffset val="100"/>
        <c:noMultiLvlLbl val="0"/>
      </c:catAx>
      <c:valAx>
        <c:axId val="1491627712"/>
        <c:scaling>
          <c:orientation val="minMax"/>
        </c:scaling>
        <c:delete val="0"/>
        <c:axPos val="t"/>
        <c:numFmt formatCode="0.0%" sourceLinked="1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89766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3070-4B09-A3F5-349C6A83B97A}"/>
              </c:ext>
            </c:extLst>
          </c:dPt>
          <c:dPt>
            <c:idx val="7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2A4E-4A09-9DF7-4FEE22AA6BF2}"/>
              </c:ext>
            </c:extLst>
          </c:dPt>
          <c:dPt>
            <c:idx val="8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FB00-4D60-9A24-9144AA6A1D22}"/>
              </c:ext>
            </c:extLst>
          </c:dPt>
          <c:dPt>
            <c:idx val="9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187C-4B26-A62C-8D83AD58094A}"/>
              </c:ext>
            </c:extLst>
          </c:dPt>
          <c:dPt>
            <c:idx val="10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5204-473A-B7BE-50056BFDC275}"/>
              </c:ext>
            </c:extLst>
          </c:dPt>
          <c:dPt>
            <c:idx val="11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95A1-4E8C-9089-81C55C8D80E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Středočeský kraj</c:v>
                </c:pt>
                <c:pt idx="1">
                  <c:v>Jihočeský kraj</c:v>
                </c:pt>
                <c:pt idx="2">
                  <c:v>Kraj Vysočina</c:v>
                </c:pt>
                <c:pt idx="3">
                  <c:v>Jihomoravský kraj</c:v>
                </c:pt>
                <c:pt idx="4">
                  <c:v>Zlínský kraj</c:v>
                </c:pt>
                <c:pt idx="5">
                  <c:v>Pardubický kraj</c:v>
                </c:pt>
                <c:pt idx="6">
                  <c:v>Olomoucký kraj</c:v>
                </c:pt>
                <c:pt idx="7">
                  <c:v>Královéhradecký kraj</c:v>
                </c:pt>
                <c:pt idx="8">
                  <c:v>ČR</c:v>
                </c:pt>
                <c:pt idx="9">
                  <c:v>Ústecký kraj</c:v>
                </c:pt>
                <c:pt idx="10">
                  <c:v>Moravskoslezský kraj</c:v>
                </c:pt>
                <c:pt idx="11">
                  <c:v>Plzeňský kraj</c:v>
                </c:pt>
                <c:pt idx="12">
                  <c:v>Liberecký kraj</c:v>
                </c:pt>
                <c:pt idx="13">
                  <c:v>Karlovarský kraj</c:v>
                </c:pt>
                <c:pt idx="14">
                  <c:v>Hlavní město Praha</c:v>
                </c:pt>
              </c:strCache>
            </c:strRef>
          </c:cat>
          <c:val>
            <c:numRef>
              <c:f>Sheet1!$B$2:$B$16</c:f>
              <c:numCache>
                <c:formatCode>0.0%</c:formatCode>
                <c:ptCount val="15"/>
                <c:pt idx="0">
                  <c:v>0.38260869565200001</c:v>
                </c:pt>
                <c:pt idx="1">
                  <c:v>0.34375</c:v>
                </c:pt>
                <c:pt idx="2">
                  <c:v>0.33870967741899999</c:v>
                </c:pt>
                <c:pt idx="3">
                  <c:v>0.33480176211399998</c:v>
                </c:pt>
                <c:pt idx="4">
                  <c:v>0.260869565217</c:v>
                </c:pt>
                <c:pt idx="5">
                  <c:v>0.225806451612</c:v>
                </c:pt>
                <c:pt idx="6">
                  <c:v>0.21379310344800001</c:v>
                </c:pt>
                <c:pt idx="7">
                  <c:v>0.201754385964</c:v>
                </c:pt>
                <c:pt idx="8">
                  <c:v>0.19482421875</c:v>
                </c:pt>
                <c:pt idx="9">
                  <c:v>0.16806722689</c:v>
                </c:pt>
                <c:pt idx="10">
                  <c:v>0.158576051779</c:v>
                </c:pt>
                <c:pt idx="11">
                  <c:v>0.152777777777</c:v>
                </c:pt>
                <c:pt idx="12">
                  <c:v>0.101265822784</c:v>
                </c:pt>
                <c:pt idx="13">
                  <c:v>9.3023255813E-2</c:v>
                </c:pt>
                <c:pt idx="14">
                  <c:v>8.668076109899999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70-4B09-A3F5-349C6A83B9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289766016"/>
        <c:axId val="1491627712"/>
      </c:barChart>
      <c:catAx>
        <c:axId val="128976601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91627712"/>
        <c:crosses val="autoZero"/>
        <c:auto val="1"/>
        <c:lblAlgn val="ctr"/>
        <c:lblOffset val="100"/>
        <c:noMultiLvlLbl val="0"/>
      </c:catAx>
      <c:valAx>
        <c:axId val="1491627712"/>
        <c:scaling>
          <c:orientation val="minMax"/>
        </c:scaling>
        <c:delete val="0"/>
        <c:axPos val="t"/>
        <c:numFmt formatCode="0.0%" sourceLinked="1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89766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244</c:v>
                </c:pt>
                <c:pt idx="1">
                  <c:v>234</c:v>
                </c:pt>
                <c:pt idx="2">
                  <c:v>247</c:v>
                </c:pt>
                <c:pt idx="3">
                  <c:v>302</c:v>
                </c:pt>
                <c:pt idx="4">
                  <c:v>302</c:v>
                </c:pt>
                <c:pt idx="5">
                  <c:v>326</c:v>
                </c:pt>
                <c:pt idx="6">
                  <c:v>316</c:v>
                </c:pt>
                <c:pt idx="7">
                  <c:v>344</c:v>
                </c:pt>
                <c:pt idx="8">
                  <c:v>333</c:v>
                </c:pt>
                <c:pt idx="9">
                  <c:v>350</c:v>
                </c:pt>
                <c:pt idx="10">
                  <c:v>425</c:v>
                </c:pt>
                <c:pt idx="11">
                  <c:v>444</c:v>
                </c:pt>
                <c:pt idx="12">
                  <c:v>470</c:v>
                </c:pt>
                <c:pt idx="13">
                  <c:v>496</c:v>
                </c:pt>
                <c:pt idx="14">
                  <c:v>527</c:v>
                </c:pt>
                <c:pt idx="15">
                  <c:v>515</c:v>
                </c:pt>
                <c:pt idx="16">
                  <c:v>541</c:v>
                </c:pt>
                <c:pt idx="17">
                  <c:v>662</c:v>
                </c:pt>
                <c:pt idx="18">
                  <c:v>725</c:v>
                </c:pt>
                <c:pt idx="19">
                  <c:v>795</c:v>
                </c:pt>
                <c:pt idx="20">
                  <c:v>839</c:v>
                </c:pt>
                <c:pt idx="21">
                  <c:v>921</c:v>
                </c:pt>
                <c:pt idx="22">
                  <c:v>929</c:v>
                </c:pt>
                <c:pt idx="23">
                  <c:v>992</c:v>
                </c:pt>
                <c:pt idx="24">
                  <c:v>1173</c:v>
                </c:pt>
                <c:pt idx="25">
                  <c:v>1294</c:v>
                </c:pt>
                <c:pt idx="26">
                  <c:v>1396</c:v>
                </c:pt>
                <c:pt idx="27">
                  <c:v>1391</c:v>
                </c:pt>
                <c:pt idx="28">
                  <c:v>1578</c:v>
                </c:pt>
                <c:pt idx="29">
                  <c:v>1597</c:v>
                </c:pt>
                <c:pt idx="30">
                  <c:v>1730</c:v>
                </c:pt>
                <c:pt idx="31">
                  <c:v>2103</c:v>
                </c:pt>
                <c:pt idx="32">
                  <c:v>2292</c:v>
                </c:pt>
                <c:pt idx="33">
                  <c:v>2495</c:v>
                </c:pt>
                <c:pt idx="34">
                  <c:v>2657</c:v>
                </c:pt>
                <c:pt idx="35">
                  <c:v>2799</c:v>
                </c:pt>
                <c:pt idx="36">
                  <c:v>2799</c:v>
                </c:pt>
                <c:pt idx="37">
                  <c:v>2950</c:v>
                </c:pt>
                <c:pt idx="38">
                  <c:v>3411</c:v>
                </c:pt>
                <c:pt idx="39">
                  <c:v>3609</c:v>
                </c:pt>
                <c:pt idx="40">
                  <c:v>3755</c:v>
                </c:pt>
                <c:pt idx="41">
                  <c:v>3884</c:v>
                </c:pt>
                <c:pt idx="42">
                  <c:v>4046</c:v>
                </c:pt>
                <c:pt idx="43">
                  <c:v>3987</c:v>
                </c:pt>
                <c:pt idx="44">
                  <c:v>4129</c:v>
                </c:pt>
                <c:pt idx="45">
                  <c:v>4777</c:v>
                </c:pt>
                <c:pt idx="46">
                  <c:v>4849</c:v>
                </c:pt>
                <c:pt idx="47">
                  <c:v>4812</c:v>
                </c:pt>
                <c:pt idx="48">
                  <c:v>5177</c:v>
                </c:pt>
                <c:pt idx="49">
                  <c:v>5302</c:v>
                </c:pt>
                <c:pt idx="50">
                  <c:v>5192</c:v>
                </c:pt>
                <c:pt idx="51">
                  <c:v>5392</c:v>
                </c:pt>
                <c:pt idx="52">
                  <c:v>5975</c:v>
                </c:pt>
                <c:pt idx="53">
                  <c:v>6097</c:v>
                </c:pt>
                <c:pt idx="54">
                  <c:v>6189</c:v>
                </c:pt>
                <c:pt idx="55">
                  <c:v>6259</c:v>
                </c:pt>
                <c:pt idx="56">
                  <c:v>6294</c:v>
                </c:pt>
                <c:pt idx="57">
                  <c:v>6076</c:v>
                </c:pt>
                <c:pt idx="58">
                  <c:v>6254</c:v>
                </c:pt>
                <c:pt idx="59">
                  <c:v>6911</c:v>
                </c:pt>
                <c:pt idx="60">
                  <c:v>68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3874.8266915745999</c:v>
                </c:pt>
                <c:pt idx="43">
                  <c:v>4000.7649631137347</c:v>
                </c:pt>
                <c:pt idx="44">
                  <c:v>4126.3636197642345</c:v>
                </c:pt>
                <c:pt idx="45">
                  <c:v>4246.851958635968</c:v>
                </c:pt>
                <c:pt idx="46">
                  <c:v>4357.7449058198672</c:v>
                </c:pt>
                <c:pt idx="47">
                  <c:v>4461.1798325185819</c:v>
                </c:pt>
                <c:pt idx="48">
                  <c:v>4561.4503701634731</c:v>
                </c:pt>
                <c:pt idx="49">
                  <c:v>4660.4655418011043</c:v>
                </c:pt>
                <c:pt idx="50">
                  <c:v>4757.6593438429773</c:v>
                </c:pt>
                <c:pt idx="51">
                  <c:v>4858.1037055510296</c:v>
                </c:pt>
                <c:pt idx="52">
                  <c:v>4955.269813729863</c:v>
                </c:pt>
                <c:pt idx="53">
                  <c:v>5037.851718867676</c:v>
                </c:pt>
                <c:pt idx="54">
                  <c:v>5112.8062867582794</c:v>
                </c:pt>
                <c:pt idx="55">
                  <c:v>5184.835706396997</c:v>
                </c:pt>
                <c:pt idx="56">
                  <c:v>5255.5396750814853</c:v>
                </c:pt>
                <c:pt idx="57">
                  <c:v>5325.598673688386</c:v>
                </c:pt>
                <c:pt idx="58">
                  <c:v>5394.5302687169542</c:v>
                </c:pt>
                <c:pt idx="59">
                  <c:v>5461.5112579097113</c:v>
                </c:pt>
                <c:pt idx="60">
                  <c:v>5523.1067654692479</c:v>
                </c:pt>
                <c:pt idx="61">
                  <c:v>5579.9682808836287</c:v>
                </c:pt>
                <c:pt idx="62">
                  <c:v>5632.7848342359175</c:v>
                </c:pt>
                <c:pt idx="63">
                  <c:v>5681.9344968879623</c:v>
                </c:pt>
                <c:pt idx="64">
                  <c:v>5726.9117901050686</c:v>
                </c:pt>
                <c:pt idx="65">
                  <c:v>5768.6191703553786</c:v>
                </c:pt>
                <c:pt idx="66">
                  <c:v>5806.331035746306</c:v>
                </c:pt>
                <c:pt idx="67">
                  <c:v>5840.2229265257092</c:v>
                </c:pt>
                <c:pt idx="68">
                  <c:v>5868.9282885581742</c:v>
                </c:pt>
                <c:pt idx="69">
                  <c:v>5893.066540476214</c:v>
                </c:pt>
                <c:pt idx="70">
                  <c:v>5913.1832379434618</c:v>
                </c:pt>
                <c:pt idx="71">
                  <c:v>5927.2707698645772</c:v>
                </c:pt>
                <c:pt idx="72">
                  <c:v>5936.7406334869083</c:v>
                </c:pt>
                <c:pt idx="73">
                  <c:v>5941.7682210099592</c:v>
                </c:pt>
                <c:pt idx="74">
                  <c:v>5941.4840299436855</c:v>
                </c:pt>
                <c:pt idx="75">
                  <c:v>5936.195389534023</c:v>
                </c:pt>
                <c:pt idx="76">
                  <c:v>5926.0593653684864</c:v>
                </c:pt>
                <c:pt idx="77">
                  <c:v>5911.4925302807633</c:v>
                </c:pt>
                <c:pt idx="78">
                  <c:v>5891.1145246271162</c:v>
                </c:pt>
                <c:pt idx="79">
                  <c:v>5866.1678405466055</c:v>
                </c:pt>
                <c:pt idx="80">
                  <c:v>5836.6640093508631</c:v>
                </c:pt>
                <c:pt idx="81">
                  <c:v>5801.8842766630705</c:v>
                </c:pt>
                <c:pt idx="82">
                  <c:v>5762.00730520045</c:v>
                </c:pt>
                <c:pt idx="83">
                  <c:v>5718.2310743467187</c:v>
                </c:pt>
                <c:pt idx="84">
                  <c:v>5670.1237920150888</c:v>
                </c:pt>
                <c:pt idx="85">
                  <c:v>5616.8306867096653</c:v>
                </c:pt>
                <c:pt idx="86">
                  <c:v>5560.4493417457879</c:v>
                </c:pt>
                <c:pt idx="87">
                  <c:v>5500.5212514270288</c:v>
                </c:pt>
                <c:pt idx="88">
                  <c:v>5434.9249047022331</c:v>
                </c:pt>
                <c:pt idx="89">
                  <c:v>5366.4713539503819</c:v>
                </c:pt>
                <c:pt idx="90">
                  <c:v>5295.1997817793708</c:v>
                </c:pt>
                <c:pt idx="91">
                  <c:v>5220.5883678919145</c:v>
                </c:pt>
                <c:pt idx="92">
                  <c:v>5141.6385683384133</c:v>
                </c:pt>
                <c:pt idx="93">
                  <c:v>5059.7844572957165</c:v>
                </c:pt>
                <c:pt idx="94">
                  <c:v>4975.64411772108</c:v>
                </c:pt>
                <c:pt idx="95">
                  <c:v>4888.91526968881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3883.7724957326495</c:v>
                </c:pt>
                <c:pt idx="43">
                  <c:v>4021.8651703173623</c:v>
                </c:pt>
                <c:pt idx="44">
                  <c:v>4163.0571947267426</c:v>
                </c:pt>
                <c:pt idx="45">
                  <c:v>4302.6712117083398</c:v>
                </c:pt>
                <c:pt idx="46">
                  <c:v>4436.3983667800385</c:v>
                </c:pt>
                <c:pt idx="47">
                  <c:v>4566.3664649222883</c:v>
                </c:pt>
                <c:pt idx="48">
                  <c:v>4696.922545893809</c:v>
                </c:pt>
                <c:pt idx="49">
                  <c:v>4829.8886898653509</c:v>
                </c:pt>
                <c:pt idx="50">
                  <c:v>4964.6851723175723</c:v>
                </c:pt>
                <c:pt idx="51">
                  <c:v>5106.269164907766</c:v>
                </c:pt>
                <c:pt idx="52">
                  <c:v>5248.0490617810729</c:v>
                </c:pt>
                <c:pt idx="53">
                  <c:v>5378.580127219092</c:v>
                </c:pt>
                <c:pt idx="54">
                  <c:v>5504.7041800399766</c:v>
                </c:pt>
                <c:pt idx="55">
                  <c:v>5630.9313152074355</c:v>
                </c:pt>
                <c:pt idx="56">
                  <c:v>5758.5854770970145</c:v>
                </c:pt>
                <c:pt idx="57">
                  <c:v>5887.8355049395122</c:v>
                </c:pt>
                <c:pt idx="58">
                  <c:v>6018.0363754738419</c:v>
                </c:pt>
                <c:pt idx="59">
                  <c:v>6148.1174291578554</c:v>
                </c:pt>
                <c:pt idx="60">
                  <c:v>6274.4753812746858</c:v>
                </c:pt>
                <c:pt idx="61">
                  <c:v>6397.4250467610236</c:v>
                </c:pt>
                <c:pt idx="62">
                  <c:v>6517.4063018172383</c:v>
                </c:pt>
                <c:pt idx="63">
                  <c:v>6634.4979616464334</c:v>
                </c:pt>
                <c:pt idx="64">
                  <c:v>6747.8381258254458</c:v>
                </c:pt>
                <c:pt idx="65">
                  <c:v>6858.0152150647637</c:v>
                </c:pt>
                <c:pt idx="66">
                  <c:v>6964.0475227458246</c:v>
                </c:pt>
                <c:pt idx="67">
                  <c:v>7065.8127870876542</c:v>
                </c:pt>
                <c:pt idx="68">
                  <c:v>7161.6785672445512</c:v>
                </c:pt>
                <c:pt idx="69">
                  <c:v>7251.9875202190015</c:v>
                </c:pt>
                <c:pt idx="70">
                  <c:v>7336.9974130292958</c:v>
                </c:pt>
                <c:pt idx="71">
                  <c:v>7414.4261695508631</c:v>
                </c:pt>
                <c:pt idx="72">
                  <c:v>7485.4020724328948</c:v>
                </c:pt>
                <c:pt idx="73">
                  <c:v>7549.8552017784723</c:v>
                </c:pt>
                <c:pt idx="74">
                  <c:v>7606.6812658407453</c:v>
                </c:pt>
                <c:pt idx="75">
                  <c:v>7655.9601133157576</c:v>
                </c:pt>
                <c:pt idx="76">
                  <c:v>7697.6356567036792</c:v>
                </c:pt>
                <c:pt idx="77">
                  <c:v>7731.9422521323922</c:v>
                </c:pt>
                <c:pt idx="78">
                  <c:v>7757.3172289474423</c:v>
                </c:pt>
                <c:pt idx="79">
                  <c:v>7774.8523594207982</c:v>
                </c:pt>
                <c:pt idx="80">
                  <c:v>7784.4222024789424</c:v>
                </c:pt>
                <c:pt idx="81">
                  <c:v>7785.1904771195786</c:v>
                </c:pt>
                <c:pt idx="82">
                  <c:v>7777.2303691396628</c:v>
                </c:pt>
                <c:pt idx="83">
                  <c:v>7761.6674912508715</c:v>
                </c:pt>
                <c:pt idx="84">
                  <c:v>7738.0130518590777</c:v>
                </c:pt>
                <c:pt idx="85">
                  <c:v>7705.3756244397246</c:v>
                </c:pt>
                <c:pt idx="86">
                  <c:v>7665.8362387460747</c:v>
                </c:pt>
                <c:pt idx="87">
                  <c:v>7618.9391382218619</c:v>
                </c:pt>
                <c:pt idx="88">
                  <c:v>7562.5763308956848</c:v>
                </c:pt>
                <c:pt idx="89">
                  <c:v>7499.6033427889088</c:v>
                </c:pt>
                <c:pt idx="90">
                  <c:v>7430.1080738058808</c:v>
                </c:pt>
                <c:pt idx="91">
                  <c:v>7353.6387736028464</c:v>
                </c:pt>
                <c:pt idx="92">
                  <c:v>7269.1761846328609</c:v>
                </c:pt>
                <c:pt idx="93">
                  <c:v>7178.3251169050318</c:v>
                </c:pt>
                <c:pt idx="94">
                  <c:v>7081.8141108436257</c:v>
                </c:pt>
                <c:pt idx="95">
                  <c:v>6979.4634720415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3892.7752822914986</c:v>
                </c:pt>
                <c:pt idx="43">
                  <c:v>4043.1687347470602</c:v>
                </c:pt>
                <c:pt idx="44">
                  <c:v>4200.2470000448029</c:v>
                </c:pt>
                <c:pt idx="45">
                  <c:v>4359.4916428298739</c:v>
                </c:pt>
                <c:pt idx="46">
                  <c:v>4516.8426085193496</c:v>
                </c:pt>
                <c:pt idx="47">
                  <c:v>4674.4950136332509</c:v>
                </c:pt>
                <c:pt idx="48">
                  <c:v>4836.9296358195497</c:v>
                </c:pt>
                <c:pt idx="49">
                  <c:v>5005.9629248299843</c:v>
                </c:pt>
                <c:pt idx="50">
                  <c:v>5181.0823628909493</c:v>
                </c:pt>
                <c:pt idx="51">
                  <c:v>5367.2087561997487</c:v>
                </c:pt>
                <c:pt idx="52">
                  <c:v>5557.7622339853697</c:v>
                </c:pt>
                <c:pt idx="53">
                  <c:v>5741.2274125797849</c:v>
                </c:pt>
                <c:pt idx="54">
                  <c:v>5924.3916908957708</c:v>
                </c:pt>
                <c:pt idx="55">
                  <c:v>6111.6242528419061</c:v>
                </c:pt>
                <c:pt idx="56">
                  <c:v>6304.0139361848651</c:v>
                </c:pt>
                <c:pt idx="57">
                  <c:v>6501.2446122618312</c:v>
                </c:pt>
                <c:pt idx="58">
                  <c:v>6702.522830665479</c:v>
                </c:pt>
                <c:pt idx="59">
                  <c:v>6906.5301863113764</c:v>
                </c:pt>
                <c:pt idx="60">
                  <c:v>7109.4791726113908</c:v>
                </c:pt>
                <c:pt idx="61">
                  <c:v>7311.3153925703828</c:v>
                </c:pt>
                <c:pt idx="62">
                  <c:v>7512.1806540221532</c:v>
                </c:pt>
                <c:pt idx="63">
                  <c:v>7711.7892970140019</c:v>
                </c:pt>
                <c:pt idx="64">
                  <c:v>7908.8414601342902</c:v>
                </c:pt>
                <c:pt idx="65">
                  <c:v>8103.5161819879368</c:v>
                </c:pt>
                <c:pt idx="66">
                  <c:v>8294.4674585003886</c:v>
                </c:pt>
                <c:pt idx="67">
                  <c:v>8481.1526524327164</c:v>
                </c:pt>
                <c:pt idx="68">
                  <c:v>8661.5385703678348</c:v>
                </c:pt>
                <c:pt idx="69">
                  <c:v>8835.5454934832705</c:v>
                </c:pt>
                <c:pt idx="70">
                  <c:v>9002.9890621874674</c:v>
                </c:pt>
                <c:pt idx="71">
                  <c:v>9161.1516483523137</c:v>
                </c:pt>
                <c:pt idx="72">
                  <c:v>9310.7132913458518</c:v>
                </c:pt>
                <c:pt idx="73">
                  <c:v>9451.1919071894808</c:v>
                </c:pt>
                <c:pt idx="74">
                  <c:v>9581.0814534073252</c:v>
                </c:pt>
                <c:pt idx="75">
                  <c:v>9700.0694388859683</c:v>
                </c:pt>
                <c:pt idx="76">
                  <c:v>9807.726184872894</c:v>
                </c:pt>
                <c:pt idx="77">
                  <c:v>9903.9501133799276</c:v>
                </c:pt>
                <c:pt idx="78">
                  <c:v>9986.8513187595854</c:v>
                </c:pt>
                <c:pt idx="79">
                  <c:v>10057.236771960852</c:v>
                </c:pt>
                <c:pt idx="80">
                  <c:v>10114.72246934113</c:v>
                </c:pt>
                <c:pt idx="81">
                  <c:v>10158.247083233073</c:v>
                </c:pt>
                <c:pt idx="82">
                  <c:v>10187.686256884106</c:v>
                </c:pt>
                <c:pt idx="83">
                  <c:v>10204.017835551913</c:v>
                </c:pt>
                <c:pt idx="84">
                  <c:v>10206.638131698186</c:v>
                </c:pt>
                <c:pt idx="85">
                  <c:v>10194.579248587941</c:v>
                </c:pt>
                <c:pt idx="86">
                  <c:v>10169.884223290057</c:v>
                </c:pt>
                <c:pt idx="87">
                  <c:v>10132.096963673484</c:v>
                </c:pt>
                <c:pt idx="88">
                  <c:v>10079.137980044041</c:v>
                </c:pt>
                <c:pt idx="89">
                  <c:v>10013.939924979448</c:v>
                </c:pt>
                <c:pt idx="90">
                  <c:v>9936.6889466502089</c:v>
                </c:pt>
                <c:pt idx="91">
                  <c:v>9847.0688784891026</c:v>
                </c:pt>
                <c:pt idx="92">
                  <c:v>9744.1194406107588</c:v>
                </c:pt>
                <c:pt idx="93">
                  <c:v>9629.7096549604648</c:v>
                </c:pt>
                <c:pt idx="94">
                  <c:v>9504.7837788229681</c:v>
                </c:pt>
                <c:pt idx="95">
                  <c:v>9369.40036948733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45</c:v>
                </c:pt>
                <c:pt idx="1">
                  <c:v>44</c:v>
                </c:pt>
                <c:pt idx="2">
                  <c:v>52</c:v>
                </c:pt>
                <c:pt idx="3">
                  <c:v>58</c:v>
                </c:pt>
                <c:pt idx="4">
                  <c:v>72</c:v>
                </c:pt>
                <c:pt idx="5">
                  <c:v>86</c:v>
                </c:pt>
                <c:pt idx="6">
                  <c:v>75</c:v>
                </c:pt>
                <c:pt idx="7">
                  <c:v>78</c:v>
                </c:pt>
                <c:pt idx="8">
                  <c:v>77</c:v>
                </c:pt>
                <c:pt idx="9">
                  <c:v>77</c:v>
                </c:pt>
                <c:pt idx="10">
                  <c:v>99</c:v>
                </c:pt>
                <c:pt idx="11">
                  <c:v>113</c:v>
                </c:pt>
                <c:pt idx="12">
                  <c:v>114</c:v>
                </c:pt>
                <c:pt idx="13">
                  <c:v>116</c:v>
                </c:pt>
                <c:pt idx="14">
                  <c:v>115</c:v>
                </c:pt>
                <c:pt idx="15">
                  <c:v>112</c:v>
                </c:pt>
                <c:pt idx="16">
                  <c:v>116</c:v>
                </c:pt>
                <c:pt idx="17">
                  <c:v>133</c:v>
                </c:pt>
                <c:pt idx="18">
                  <c:v>146</c:v>
                </c:pt>
                <c:pt idx="19">
                  <c:v>138</c:v>
                </c:pt>
                <c:pt idx="20">
                  <c:v>142</c:v>
                </c:pt>
                <c:pt idx="21">
                  <c:v>153</c:v>
                </c:pt>
                <c:pt idx="22">
                  <c:v>151</c:v>
                </c:pt>
                <c:pt idx="23">
                  <c:v>163</c:v>
                </c:pt>
                <c:pt idx="24">
                  <c:v>171</c:v>
                </c:pt>
                <c:pt idx="25">
                  <c:v>193</c:v>
                </c:pt>
                <c:pt idx="26">
                  <c:v>215</c:v>
                </c:pt>
                <c:pt idx="27">
                  <c:v>209</c:v>
                </c:pt>
                <c:pt idx="28">
                  <c:v>233</c:v>
                </c:pt>
                <c:pt idx="29">
                  <c:v>238</c:v>
                </c:pt>
                <c:pt idx="30">
                  <c:v>267</c:v>
                </c:pt>
                <c:pt idx="31">
                  <c:v>311</c:v>
                </c:pt>
                <c:pt idx="32">
                  <c:v>318</c:v>
                </c:pt>
                <c:pt idx="33">
                  <c:v>345</c:v>
                </c:pt>
                <c:pt idx="34">
                  <c:v>345</c:v>
                </c:pt>
                <c:pt idx="35">
                  <c:v>384</c:v>
                </c:pt>
                <c:pt idx="36">
                  <c:v>389</c:v>
                </c:pt>
                <c:pt idx="37">
                  <c:v>424</c:v>
                </c:pt>
                <c:pt idx="38">
                  <c:v>471</c:v>
                </c:pt>
                <c:pt idx="39">
                  <c:v>487</c:v>
                </c:pt>
                <c:pt idx="40">
                  <c:v>511</c:v>
                </c:pt>
                <c:pt idx="41">
                  <c:v>519</c:v>
                </c:pt>
                <c:pt idx="42">
                  <c:v>527</c:v>
                </c:pt>
                <c:pt idx="43">
                  <c:v>561</c:v>
                </c:pt>
                <c:pt idx="44">
                  <c:v>601</c:v>
                </c:pt>
                <c:pt idx="45">
                  <c:v>644</c:v>
                </c:pt>
                <c:pt idx="46">
                  <c:v>651</c:v>
                </c:pt>
                <c:pt idx="47">
                  <c:v>691</c:v>
                </c:pt>
                <c:pt idx="48">
                  <c:v>716</c:v>
                </c:pt>
                <c:pt idx="49">
                  <c:v>744</c:v>
                </c:pt>
                <c:pt idx="50">
                  <c:v>752</c:v>
                </c:pt>
                <c:pt idx="51">
                  <c:v>779</c:v>
                </c:pt>
                <c:pt idx="52">
                  <c:v>815</c:v>
                </c:pt>
                <c:pt idx="53">
                  <c:v>858</c:v>
                </c:pt>
                <c:pt idx="54">
                  <c:v>863</c:v>
                </c:pt>
                <c:pt idx="55">
                  <c:v>889</c:v>
                </c:pt>
                <c:pt idx="56">
                  <c:v>910</c:v>
                </c:pt>
                <c:pt idx="57">
                  <c:v>920</c:v>
                </c:pt>
                <c:pt idx="58">
                  <c:v>928</c:v>
                </c:pt>
                <c:pt idx="59">
                  <c:v>970</c:v>
                </c:pt>
                <c:pt idx="60">
                  <c:v>9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538.34653645065316</c:v>
                </c:pt>
                <c:pt idx="43">
                  <c:v>566.3775340375945</c:v>
                </c:pt>
                <c:pt idx="44">
                  <c:v>593.53728122139341</c:v>
                </c:pt>
                <c:pt idx="45">
                  <c:v>619.29628634537175</c:v>
                </c:pt>
                <c:pt idx="46">
                  <c:v>644.79770503473469</c:v>
                </c:pt>
                <c:pt idx="47">
                  <c:v>670.44258291493816</c:v>
                </c:pt>
                <c:pt idx="48">
                  <c:v>695.53842156704866</c:v>
                </c:pt>
                <c:pt idx="49">
                  <c:v>719.85190196455505</c:v>
                </c:pt>
                <c:pt idx="50">
                  <c:v>742.00043602806977</c:v>
                </c:pt>
                <c:pt idx="51">
                  <c:v>763.64898141441938</c:v>
                </c:pt>
                <c:pt idx="52">
                  <c:v>784.57780034781422</c:v>
                </c:pt>
                <c:pt idx="53">
                  <c:v>805.25814425479871</c:v>
                </c:pt>
                <c:pt idx="54">
                  <c:v>824.18597696438064</c:v>
                </c:pt>
                <c:pt idx="55">
                  <c:v>842.13561239532044</c:v>
                </c:pt>
                <c:pt idx="56">
                  <c:v>859.80376950117602</c:v>
                </c:pt>
                <c:pt idx="57">
                  <c:v>876.3469461229945</c:v>
                </c:pt>
                <c:pt idx="58">
                  <c:v>891.94882551208582</c:v>
                </c:pt>
                <c:pt idx="59">
                  <c:v>906.52036102609327</c:v>
                </c:pt>
                <c:pt idx="60">
                  <c:v>920.58325715208446</c:v>
                </c:pt>
                <c:pt idx="61">
                  <c:v>933.55536588028576</c:v>
                </c:pt>
                <c:pt idx="62">
                  <c:v>945.42822341929059</c:v>
                </c:pt>
                <c:pt idx="63">
                  <c:v>956.48680799755061</c:v>
                </c:pt>
                <c:pt idx="64">
                  <c:v>966.9125289324586</c:v>
                </c:pt>
                <c:pt idx="65">
                  <c:v>976.23302503778336</c:v>
                </c:pt>
                <c:pt idx="66">
                  <c:v>984.51664838935426</c:v>
                </c:pt>
                <c:pt idx="67">
                  <c:v>991.93928923474482</c:v>
                </c:pt>
                <c:pt idx="68">
                  <c:v>998.55810901371024</c:v>
                </c:pt>
                <c:pt idx="69">
                  <c:v>1004.3210934838614</c:v>
                </c:pt>
                <c:pt idx="70">
                  <c:v>1009.1809084903009</c:v>
                </c:pt>
                <c:pt idx="71">
                  <c:v>1013.2878832646476</c:v>
                </c:pt>
                <c:pt idx="72">
                  <c:v>1016.4748329969788</c:v>
                </c:pt>
                <c:pt idx="73">
                  <c:v>1018.758024779135</c:v>
                </c:pt>
                <c:pt idx="74">
                  <c:v>1020.0411942973701</c:v>
                </c:pt>
                <c:pt idx="75">
                  <c:v>1020.4768913088465</c:v>
                </c:pt>
                <c:pt idx="76">
                  <c:v>1020.0732762357502</c:v>
                </c:pt>
                <c:pt idx="77">
                  <c:v>1018.8275369639043</c:v>
                </c:pt>
                <c:pt idx="78">
                  <c:v>1016.7053489876226</c:v>
                </c:pt>
                <c:pt idx="79">
                  <c:v>1013.683679369954</c:v>
                </c:pt>
                <c:pt idx="80">
                  <c:v>1009.8145291756862</c:v>
                </c:pt>
                <c:pt idx="81">
                  <c:v>1005.1240476885006</c:v>
                </c:pt>
                <c:pt idx="82">
                  <c:v>999.6221568242205</c:v>
                </c:pt>
                <c:pt idx="83">
                  <c:v>993.31067810810487</c:v>
                </c:pt>
                <c:pt idx="84">
                  <c:v>986.2174100277025</c:v>
                </c:pt>
                <c:pt idx="85">
                  <c:v>978.36798305022171</c:v>
                </c:pt>
                <c:pt idx="86">
                  <c:v>969.78903810151746</c:v>
                </c:pt>
                <c:pt idx="87">
                  <c:v>960.5030380806902</c:v>
                </c:pt>
                <c:pt idx="88">
                  <c:v>950.54002594936981</c:v>
                </c:pt>
                <c:pt idx="89">
                  <c:v>939.92643156297208</c:v>
                </c:pt>
                <c:pt idx="90">
                  <c:v>928.68679284497784</c:v>
                </c:pt>
                <c:pt idx="91">
                  <c:v>916.85197503342897</c:v>
                </c:pt>
                <c:pt idx="92">
                  <c:v>904.45639301939104</c:v>
                </c:pt>
                <c:pt idx="93">
                  <c:v>891.53295792184622</c:v>
                </c:pt>
                <c:pt idx="94">
                  <c:v>878.11396244792013</c:v>
                </c:pt>
                <c:pt idx="95">
                  <c:v>864.23301392715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539.42795017618585</c:v>
                </c:pt>
                <c:pt idx="43">
                  <c:v>568.97315736335486</c:v>
                </c:pt>
                <c:pt idx="44">
                  <c:v>598.1315041085453</c:v>
                </c:pt>
                <c:pt idx="45">
                  <c:v>626.41969743022628</c:v>
                </c:pt>
                <c:pt idx="46">
                  <c:v>655.01089073764501</c:v>
                </c:pt>
                <c:pt idx="47">
                  <c:v>684.35382358599531</c:v>
                </c:pt>
                <c:pt idx="48">
                  <c:v>713.76435200672961</c:v>
                </c:pt>
                <c:pt idx="49">
                  <c:v>743.03004175543219</c:v>
                </c:pt>
                <c:pt idx="50">
                  <c:v>770.766517488506</c:v>
                </c:pt>
                <c:pt idx="51">
                  <c:v>798.64187711591785</c:v>
                </c:pt>
                <c:pt idx="52">
                  <c:v>826.42985741506754</c:v>
                </c:pt>
                <c:pt idx="53">
                  <c:v>854.58263757347913</c:v>
                </c:pt>
                <c:pt idx="54">
                  <c:v>881.58054805199367</c:v>
                </c:pt>
                <c:pt idx="55">
                  <c:v>908.16769807312016</c:v>
                </c:pt>
                <c:pt idx="56">
                  <c:v>935.01565076027282</c:v>
                </c:pt>
                <c:pt idx="57">
                  <c:v>961.24569155628285</c:v>
                </c:pt>
                <c:pt idx="58">
                  <c:v>987.00108213151634</c:v>
                </c:pt>
                <c:pt idx="59">
                  <c:v>1012.1308299236841</c:v>
                </c:pt>
                <c:pt idx="60">
                  <c:v>1037.1199403648313</c:v>
                </c:pt>
                <c:pt idx="61">
                  <c:v>1061.3245002309607</c:v>
                </c:pt>
                <c:pt idx="62">
                  <c:v>1084.6898012894042</c:v>
                </c:pt>
                <c:pt idx="63">
                  <c:v>1107.4567573587524</c:v>
                </c:pt>
                <c:pt idx="64">
                  <c:v>1129.7496142613702</c:v>
                </c:pt>
                <c:pt idx="65">
                  <c:v>1151.0393588208663</c:v>
                </c:pt>
                <c:pt idx="66">
                  <c:v>1171.3422472676352</c:v>
                </c:pt>
                <c:pt idx="67">
                  <c:v>1190.7882001243631</c:v>
                </c:pt>
                <c:pt idx="68">
                  <c:v>1209.3825298062034</c:v>
                </c:pt>
                <c:pt idx="69">
                  <c:v>1227.0219736038248</c:v>
                </c:pt>
                <c:pt idx="70">
                  <c:v>1243.6064356066204</c:v>
                </c:pt>
                <c:pt idx="71">
                  <c:v>1259.2345301756518</c:v>
                </c:pt>
                <c:pt idx="72">
                  <c:v>1273.6862264634728</c:v>
                </c:pt>
                <c:pt idx="73">
                  <c:v>1286.9321870926633</c:v>
                </c:pt>
                <c:pt idx="74">
                  <c:v>1298.8300724689871</c:v>
                </c:pt>
                <c:pt idx="75">
                  <c:v>1309.4916527318251</c:v>
                </c:pt>
                <c:pt idx="76">
                  <c:v>1318.8845836412895</c:v>
                </c:pt>
                <c:pt idx="77">
                  <c:v>1326.9681222485583</c:v>
                </c:pt>
                <c:pt idx="78">
                  <c:v>1333.6690666647505</c:v>
                </c:pt>
                <c:pt idx="79">
                  <c:v>1338.930546977155</c:v>
                </c:pt>
                <c:pt idx="80">
                  <c:v>1342.7774565222339</c:v>
                </c:pt>
                <c:pt idx="81">
                  <c:v>1345.2098877066833</c:v>
                </c:pt>
                <c:pt idx="82">
                  <c:v>1346.2151346762907</c:v>
                </c:pt>
                <c:pt idx="83">
                  <c:v>1345.7758817215599</c:v>
                </c:pt>
                <c:pt idx="84">
                  <c:v>1343.904277604388</c:v>
                </c:pt>
                <c:pt idx="85">
                  <c:v>1340.613916579005</c:v>
                </c:pt>
                <c:pt idx="86">
                  <c:v>1335.9229836655982</c:v>
                </c:pt>
                <c:pt idx="87">
                  <c:v>1329.8490735910939</c:v>
                </c:pt>
                <c:pt idx="88">
                  <c:v>1322.4208701280554</c:v>
                </c:pt>
                <c:pt idx="89">
                  <c:v>1313.6668531908967</c:v>
                </c:pt>
                <c:pt idx="90">
                  <c:v>1303.6168668083906</c:v>
                </c:pt>
                <c:pt idx="91">
                  <c:v>1292.3102075588404</c:v>
                </c:pt>
                <c:pt idx="92">
                  <c:v>1279.7927303310021</c:v>
                </c:pt>
                <c:pt idx="93">
                  <c:v>1266.1116307990249</c:v>
                </c:pt>
                <c:pt idx="94">
                  <c:v>1251.3161224681357</c:v>
                </c:pt>
                <c:pt idx="95">
                  <c:v>1235.45907548037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540.51549826427538</c:v>
                </c:pt>
                <c:pt idx="43">
                  <c:v>571.5910858627758</c:v>
                </c:pt>
                <c:pt idx="44">
                  <c:v>602.78128618527444</c:v>
                </c:pt>
                <c:pt idx="45">
                  <c:v>633.65767568492367</c:v>
                </c:pt>
                <c:pt idx="46">
                  <c:v>665.43341592890374</c:v>
                </c:pt>
                <c:pt idx="47">
                  <c:v>698.61618345308102</c:v>
                </c:pt>
                <c:pt idx="48">
                  <c:v>732.54225933768271</c:v>
                </c:pt>
                <c:pt idx="49">
                  <c:v>767.03291820809523</c:v>
                </c:pt>
                <c:pt idx="50">
                  <c:v>800.71516712438824</c:v>
                </c:pt>
                <c:pt idx="51">
                  <c:v>835.27358124687066</c:v>
                </c:pt>
                <c:pt idx="52">
                  <c:v>870.48853065666231</c:v>
                </c:pt>
                <c:pt idx="53">
                  <c:v>906.80570036789447</c:v>
                </c:pt>
                <c:pt idx="54">
                  <c:v>942.70150185963507</c:v>
                </c:pt>
                <c:pt idx="55">
                  <c:v>978.9003239243392</c:v>
                </c:pt>
                <c:pt idx="56">
                  <c:v>1016.0577294254427</c:v>
                </c:pt>
                <c:pt idx="57">
                  <c:v>1053.2672304785012</c:v>
                </c:pt>
                <c:pt idx="58">
                  <c:v>1090.637222738329</c:v>
                </c:pt>
                <c:pt idx="59">
                  <c:v>1127.9581155742762</c:v>
                </c:pt>
                <c:pt idx="60">
                  <c:v>1165.6791847393633</c:v>
                </c:pt>
                <c:pt idx="61">
                  <c:v>1203.0930349235341</c:v>
                </c:pt>
                <c:pt idx="62">
                  <c:v>1240.0942579410014</c:v>
                </c:pt>
                <c:pt idx="63">
                  <c:v>1276.8724773822505</c:v>
                </c:pt>
                <c:pt idx="64">
                  <c:v>1313.4847162796664</c:v>
                </c:pt>
                <c:pt idx="65">
                  <c:v>1349.3326589612561</c:v>
                </c:pt>
                <c:pt idx="66">
                  <c:v>1384.3653204047293</c:v>
                </c:pt>
                <c:pt idx="67">
                  <c:v>1418.648935416436</c:v>
                </c:pt>
                <c:pt idx="68">
                  <c:v>1452.1168655310275</c:v>
                </c:pt>
                <c:pt idx="69">
                  <c:v>1484.5923372331545</c:v>
                </c:pt>
                <c:pt idx="70">
                  <c:v>1515.8983249539224</c:v>
                </c:pt>
                <c:pt idx="71">
                  <c:v>1546.0559322987924</c:v>
                </c:pt>
                <c:pt idx="72">
                  <c:v>1574.7652533883713</c:v>
                </c:pt>
                <c:pt idx="73">
                  <c:v>1601.9234507262049</c:v>
                </c:pt>
                <c:pt idx="74">
                  <c:v>1627.313656451023</c:v>
                </c:pt>
                <c:pt idx="75">
                  <c:v>1650.9782259636629</c:v>
                </c:pt>
                <c:pt idx="76">
                  <c:v>1672.8158770640275</c:v>
                </c:pt>
                <c:pt idx="77">
                  <c:v>1692.7200867042798</c:v>
                </c:pt>
                <c:pt idx="78">
                  <c:v>1710.5518765775907</c:v>
                </c:pt>
                <c:pt idx="79">
                  <c:v>1726.1949688739619</c:v>
                </c:pt>
                <c:pt idx="80">
                  <c:v>1739.6232706404064</c:v>
                </c:pt>
                <c:pt idx="81">
                  <c:v>1750.7889331175338</c:v>
                </c:pt>
                <c:pt idx="82">
                  <c:v>1759.6370090297041</c:v>
                </c:pt>
                <c:pt idx="83">
                  <c:v>1766.1139568243143</c:v>
                </c:pt>
                <c:pt idx="84">
                  <c:v>1770.2019250764154</c:v>
                </c:pt>
                <c:pt idx="85">
                  <c:v>1771.8910267806193</c:v>
                </c:pt>
                <c:pt idx="86">
                  <c:v>1771.1825775644397</c:v>
                </c:pt>
                <c:pt idx="87">
                  <c:v>1768.0840056424856</c:v>
                </c:pt>
                <c:pt idx="88">
                  <c:v>1762.6204862582392</c:v>
                </c:pt>
                <c:pt idx="89">
                  <c:v>1754.823532372196</c:v>
                </c:pt>
                <c:pt idx="90">
                  <c:v>1744.7323500935113</c:v>
                </c:pt>
                <c:pt idx="91">
                  <c:v>1732.4017006102067</c:v>
                </c:pt>
                <c:pt idx="92">
                  <c:v>1717.8987505964114</c:v>
                </c:pt>
                <c:pt idx="93">
                  <c:v>1701.2975179488428</c:v>
                </c:pt>
                <c:pt idx="94">
                  <c:v>1682.6791354108339</c:v>
                </c:pt>
                <c:pt idx="95">
                  <c:v>1662.13305359800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quarter" idx="1"/>
          </p:nvPr>
        </p:nvSpPr>
        <p:spPr>
          <a:xfrm>
            <a:off x="3936137" y="0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E88527-8C78-4670-A74D-468E88FB2658}" type="datetimeFigureOut">
              <a:rPr lang="cs-CZ" smtClean="0"/>
              <a:t>03.12.2021</a:t>
            </a:fld>
            <a:endParaRPr lang="cs-CZ"/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2"/>
          </p:nvPr>
        </p:nvSpPr>
        <p:spPr>
          <a:xfrm>
            <a:off x="1" y="8772414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3"/>
          </p:nvPr>
        </p:nvSpPr>
        <p:spPr>
          <a:xfrm>
            <a:off x="3936137" y="8772414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D5D0693-75AC-4F46-BBF1-1CD96A6AD73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0046474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936767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03.12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704850" y="1154113"/>
            <a:ext cx="5540375" cy="31162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95008" y="4444861"/>
            <a:ext cx="5560060" cy="363670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936767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BFCB68-01F3-4028-943D-0453D67E25ED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74192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775059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1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998539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4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jpe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-2154" y="5761783"/>
            <a:ext cx="12192000" cy="10962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824755"/>
            <a:ext cx="9144000" cy="1071549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051604"/>
            <a:ext cx="9144000" cy="1071549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cxnSp>
        <p:nvCxnSpPr>
          <p:cNvPr id="9" name="Přímá spojnice 8">
            <a:extLst>
              <a:ext uri="{FF2B5EF4-FFF2-40B4-BE49-F238E27FC236}">
                <a16:creationId xmlns:a16="http://schemas.microsoft.com/office/drawing/2014/main" id="{9C6DB8DB-B4CE-44F2-A1F7-0115BA3B53A2}"/>
              </a:ext>
            </a:extLst>
          </p:cNvPr>
          <p:cNvCxnSpPr/>
          <p:nvPr userDrawn="1"/>
        </p:nvCxnSpPr>
        <p:spPr>
          <a:xfrm>
            <a:off x="20409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Přímá spojnice 9">
            <a:extLst>
              <a:ext uri="{FF2B5EF4-FFF2-40B4-BE49-F238E27FC236}">
                <a16:creationId xmlns:a16="http://schemas.microsoft.com/office/drawing/2014/main" id="{A3FF7D14-88C2-4766-B102-07A71872BC84}"/>
              </a:ext>
            </a:extLst>
          </p:cNvPr>
          <p:cNvCxnSpPr/>
          <p:nvPr userDrawn="1"/>
        </p:nvCxnSpPr>
        <p:spPr>
          <a:xfrm>
            <a:off x="7264966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Obrázek 10">
            <a:extLst>
              <a:ext uri="{FF2B5EF4-FFF2-40B4-BE49-F238E27FC236}">
                <a16:creationId xmlns:a16="http://schemas.microsoft.com/office/drawing/2014/main" id="{17C1E084-43DA-4F32-BC38-0A779DDC36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332066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Grafický objekt 15">
            <a:extLst>
              <a:ext uri="{FF2B5EF4-FFF2-40B4-BE49-F238E27FC236}">
                <a16:creationId xmlns:a16="http://schemas.microsoft.com/office/drawing/2014/main" id="{2E38FE36-8704-4B15-B3ED-B5C034568E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48260FB5-167E-9443-AE69-16DC60C7836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201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538340"/>
            <a:ext cx="10375900" cy="4568394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4418"/>
            <a:ext cx="432000" cy="433582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Nadpis 1"/>
          <p:cNvSpPr>
            <a:spLocks noGrp="1"/>
          </p:cNvSpPr>
          <p:nvPr>
            <p:ph type="title"/>
          </p:nvPr>
        </p:nvSpPr>
        <p:spPr>
          <a:xfrm>
            <a:off x="838201" y="165100"/>
            <a:ext cx="8001000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cxnSp>
        <p:nvCxnSpPr>
          <p:cNvPr id="13" name="Přímá spojnice 12"/>
          <p:cNvCxnSpPr/>
          <p:nvPr userDrawn="1"/>
        </p:nvCxnSpPr>
        <p:spPr>
          <a:xfrm flipV="1">
            <a:off x="0" y="1085179"/>
            <a:ext cx="12192000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Obdélník 7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2" name="Obrázek 1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530052" y="97662"/>
            <a:ext cx="2661948" cy="911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57355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élník 6"/>
          <p:cNvSpPr/>
          <p:nvPr userDrawn="1"/>
        </p:nvSpPr>
        <p:spPr>
          <a:xfrm>
            <a:off x="8127997" y="0"/>
            <a:ext cx="4064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  <a:shade val="30000"/>
                  <a:satMod val="115000"/>
                </a:schemeClr>
              </a:gs>
              <a:gs pos="50000">
                <a:schemeClr val="bg1">
                  <a:lumMod val="95000"/>
                  <a:shade val="67500"/>
                  <a:satMod val="115000"/>
                </a:schemeClr>
              </a:gs>
              <a:gs pos="100000">
                <a:schemeClr val="bg1">
                  <a:lumMod val="95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Obdélník 11"/>
          <p:cNvSpPr/>
          <p:nvPr userDrawn="1"/>
        </p:nvSpPr>
        <p:spPr>
          <a:xfrm>
            <a:off x="8127997" y="4673599"/>
            <a:ext cx="4064003" cy="2184401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539003" y="1135062"/>
            <a:ext cx="3241991" cy="1757362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32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pPr lvl="0" algn="ctr"/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721921" y="644672"/>
            <a:ext cx="6483982" cy="5654528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2400" dirty="0" smtClean="0"/>
            </a:lvl1pPr>
          </a:lstStyle>
          <a:p>
            <a:pPr marL="0" lvl="0" indent="0" algn="ctr">
              <a:buNone/>
            </a:pPr>
            <a:r>
              <a:rPr lang="cs-CZ" dirty="0"/>
              <a:t>Kliknutím lze upravit styly předlohy textu.</a:t>
            </a: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10369" y="5986922"/>
            <a:ext cx="2430126" cy="852293"/>
          </a:xfrm>
          <a:prstGeom prst="rect">
            <a:avLst/>
          </a:prstGeom>
        </p:spPr>
      </p:pic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9" name="Přímá spojnice 8"/>
          <p:cNvCxnSpPr/>
          <p:nvPr userDrawn="1"/>
        </p:nvCxnSpPr>
        <p:spPr>
          <a:xfrm flipV="1">
            <a:off x="8128000" y="0"/>
            <a:ext cx="0" cy="685800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Skupina 15"/>
          <p:cNvGrpSpPr/>
          <p:nvPr userDrawn="1"/>
        </p:nvGrpSpPr>
        <p:grpSpPr>
          <a:xfrm>
            <a:off x="9167650" y="3681252"/>
            <a:ext cx="1984694" cy="1984694"/>
            <a:chOff x="-4198256" y="-1833664"/>
            <a:chExt cx="6858000" cy="6858000"/>
          </a:xfrm>
        </p:grpSpPr>
        <p:sp>
          <p:nvSpPr>
            <p:cNvPr id="17" name="Ovál 16"/>
            <p:cNvSpPr/>
            <p:nvPr/>
          </p:nvSpPr>
          <p:spPr>
            <a:xfrm>
              <a:off x="-3308310" y="-943718"/>
              <a:ext cx="5049080" cy="504908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8" name="Obrázek 1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4198256" y="-1833664"/>
              <a:ext cx="6858000" cy="685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144558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ázek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Obdélník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 userDrawn="1"/>
        </p:nvSpPr>
        <p:spPr>
          <a:xfrm>
            <a:off x="1511300" y="6244853"/>
            <a:ext cx="10680700" cy="613147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5" name="Obrázek 4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244853"/>
            <a:ext cx="1778000" cy="613147"/>
          </a:xfrm>
          <a:prstGeom prst="rect">
            <a:avLst/>
          </a:prstGeom>
        </p:spPr>
      </p:pic>
      <p:grpSp>
        <p:nvGrpSpPr>
          <p:cNvPr id="3" name="Skupina 2"/>
          <p:cNvGrpSpPr/>
          <p:nvPr userDrawn="1"/>
        </p:nvGrpSpPr>
        <p:grpSpPr>
          <a:xfrm>
            <a:off x="11023600" y="5681975"/>
            <a:ext cx="1041400" cy="1074956"/>
            <a:chOff x="10733618" y="5437836"/>
            <a:chExt cx="1375832" cy="1420164"/>
          </a:xfrm>
        </p:grpSpPr>
        <p:sp>
          <p:nvSpPr>
            <p:cNvPr id="8" name="Ovál 7"/>
            <p:cNvSpPr/>
            <p:nvPr userDrawn="1"/>
          </p:nvSpPr>
          <p:spPr>
            <a:xfrm>
              <a:off x="10974122" y="5757656"/>
              <a:ext cx="894824" cy="894824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0" name="Obrázek 9"/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733618" y="5437836"/>
              <a:ext cx="1375832" cy="142016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582659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20521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délník 4"/>
          <p:cNvSpPr/>
          <p:nvPr userDrawn="1"/>
        </p:nvSpPr>
        <p:spPr>
          <a:xfrm rot="10800000">
            <a:off x="0" y="-1"/>
            <a:ext cx="12192000" cy="6858000"/>
          </a:xfrm>
          <a:prstGeom prst="rect">
            <a:avLst/>
          </a:prstGeom>
          <a:gradFill flip="none" rotWithShape="1">
            <a:gsLst>
              <a:gs pos="6000">
                <a:schemeClr val="tx1">
                  <a:lumMod val="65000"/>
                  <a:lumOff val="35000"/>
                </a:schemeClr>
              </a:gs>
              <a:gs pos="27000">
                <a:schemeClr val="tx1">
                  <a:lumMod val="85000"/>
                  <a:lumOff val="15000"/>
                </a:schemeClr>
              </a:gs>
              <a:gs pos="63000">
                <a:srgbClr val="000000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8" name="Obrázek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194424"/>
            <a:ext cx="2654300" cy="663576"/>
          </a:xfrm>
          <a:prstGeom prst="rect">
            <a:avLst/>
          </a:prstGeom>
        </p:spPr>
      </p:pic>
      <p:pic>
        <p:nvPicPr>
          <p:cNvPr id="10" name="Obrázek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7600" y="2249716"/>
            <a:ext cx="2336800" cy="2336800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Obdélník 1"/>
          <p:cNvSpPr/>
          <p:nvPr userDrawn="1"/>
        </p:nvSpPr>
        <p:spPr>
          <a:xfrm>
            <a:off x="4221769" y="4683938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85813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837149-65B5-40C0-A148-5C0780A20B5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F4BE70A-7F29-4223-A3CA-61E551FDDC9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652B65-704D-45EB-9963-4141CB9053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3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C2A396D-ED3C-40A7-A84A-FA6B1A083A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2B84A6-BF36-4830-9DEB-D538717EC5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6754983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40312C-16C5-4EC5-BFB5-CC5C632C0B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729715A-0CFC-4C2E-9068-7DF48BB7AE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F4618D-F07C-4AA8-B8B3-F2AB8B22C4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3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A87515-7F99-4E50-8332-483C5E8B4B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D35ACF-FB41-49E3-92DE-4820036A1D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8231071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262F51-B53B-457A-A6AF-28D267CF30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8FE44A6-E02C-4130-9FDD-3C159AA6254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7BAF497-906E-4C9E-89F1-966198E1FE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3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EF1F17D-B3E7-445C-8A01-FD1EF60A0A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3DFA466-2841-42D8-BCE2-B1B5CDEDDA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1666081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988A46-C80B-4BB2-A239-0C10C84546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87DB0E-EFEB-4E51-A2C8-81905B8A6F1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0E6D96F-ABEB-4929-A377-663E4B12227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1F07FB-D56E-4E33-A81C-905BD0C4C8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3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D83F511-1976-4B8E-98FC-0395B51EC5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8DFDC02-60AB-4F63-9D6E-DB9D0B5123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9654415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28EAFA-0B56-4B9F-9CCC-4C485BCFE0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EBE7AC3-0A1D-431D-A6D2-6746C564A5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78A6C4D-35C7-4157-9F39-8B684B0EA45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5C5FE6C-9A5C-4C77-AB2B-9D56959A619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A0EE7EE-79CB-4CD9-A2A6-4E1745ECA8F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94F10D9-D330-4D79-838E-8A2FB338CB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3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D5BC18B-9753-47A0-A6DE-E4F8F59830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C104369-AB2C-4D6F-BB1F-DCBF27C19B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345020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2147" y="1652595"/>
            <a:ext cx="11487705" cy="4409893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569EDE3C-273C-4A62-8AE9-D7C37796420F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id="{DD8FE222-C5DA-489E-A8D2-33FE8FCEBFB9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Obrázek 13">
            <a:extLst>
              <a:ext uri="{FF2B5EF4-FFF2-40B4-BE49-F238E27FC236}">
                <a16:creationId xmlns:a16="http://schemas.microsoft.com/office/drawing/2014/main" id="{89115CFD-E318-44F9-9C3F-F0D1DFB085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Obdélník 14">
            <a:extLst>
              <a:ext uri="{FF2B5EF4-FFF2-40B4-BE49-F238E27FC236}">
                <a16:creationId xmlns:a16="http://schemas.microsoft.com/office/drawing/2014/main" id="{C76277FD-5BED-487E-A934-D1523A7642AC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447D9C5A-7FE9-3A4D-8ADB-213088003C1A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CC8969BD-C246-CA42-B13C-EE47BC3DCA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0" name="Grafický objekt 19">
              <a:extLst>
                <a:ext uri="{FF2B5EF4-FFF2-40B4-BE49-F238E27FC236}">
                  <a16:creationId xmlns:a16="http://schemas.microsoft.com/office/drawing/2014/main" id="{E0BADCCC-4F74-4F0A-A7EF-44B904712F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62A295-0C6A-400D-AC20-90ED7D6D3C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D9328C9-4230-49B1-96AE-6828B2D034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3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B4D6FA-768F-46ED-8EE5-68EEDA8A75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CF19649-51CA-447C-92C7-139673C3D6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796884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72D5272-8A1F-47C9-9F72-D750D6193E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3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0C24208-EDF0-4AC7-918C-14DBF5269F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FBB15F-958A-489F-8D5E-AE51FF0EB7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6484827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FF7104-5F5A-48BF-8F1C-2512FC482B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9FF1B-98C2-4B86-BE1B-CFEB2105E4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E1FFF5D-6844-436F-9EB9-03D03EBA200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C631352-6286-4234-9179-CEE9E16BA7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3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D74CF46-A376-42E1-B58C-3FEB8407D3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2730FE8-8F9C-472D-9441-975DA03844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7941081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C9CEBF-587F-4FCA-B912-52AA74777D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5089BE9-E83A-4915-8B58-49579A23EDA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C490D4A-B1EB-4E0F-B046-C7944091109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043ADA9-083B-49AA-8D2C-520EE4F55C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3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A4DF203-BE4D-4FBA-9511-DD6B7EB356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BA07A47-AF88-4D6C-B7A4-47B4424D7C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5048374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83E19C-275D-4815-B111-B9E627F646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F5D1869-CF2C-4605-A2D0-B2FF1A0F3BF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EE69E2-43F9-4A68-9572-EE80CBA787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3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AF432D-DBB6-4517-89F4-5AE668AB7B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A92ABC-732F-4E6E-8072-74D75700D7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392758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25BEF72-EF5B-47ED-B1AF-0C552ABB05F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C9AFF00-5600-43A1-96D3-EFB6CE5BB21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ECF071-93D5-4021-AB20-65709FAA15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3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67CEB7-1EA9-4F8B-88BD-B5DF11E7D1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A5EC400-B874-46D9-8A2B-A5C4331957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5056369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6133802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Nadpis 1">
            <a:extLst>
              <a:ext uri="{FF2B5EF4-FFF2-40B4-BE49-F238E27FC236}">
                <a16:creationId xmlns:a16="http://schemas.microsoft.com/office/drawing/2014/main" id="{6BECE3A1-9B13-4F1D-A61E-AF2067EC3C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id="{49F50076-713F-4EFA-BEB6-E92A7CA2E9D8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91C1F1F5-9E1B-45D1-B8A7-385438BD57F0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Obrázek 12">
            <a:extLst>
              <a:ext uri="{FF2B5EF4-FFF2-40B4-BE49-F238E27FC236}">
                <a16:creationId xmlns:a16="http://schemas.microsoft.com/office/drawing/2014/main" id="{5110A526-5ED1-4270-B431-200E8EA05C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4" name="Obdélník 13">
            <a:extLst>
              <a:ext uri="{FF2B5EF4-FFF2-40B4-BE49-F238E27FC236}">
                <a16:creationId xmlns:a16="http://schemas.microsoft.com/office/drawing/2014/main" id="{E07EC997-097D-4BDE-970B-3BD77460A79F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20E63B92-56D5-F945-8613-CB3F227EB275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21" name="Grafický objekt 20">
              <a:extLst>
                <a:ext uri="{FF2B5EF4-FFF2-40B4-BE49-F238E27FC236}">
                  <a16:creationId xmlns:a16="http://schemas.microsoft.com/office/drawing/2014/main" id="{8251C239-9A82-3C4F-8A6F-8FDEBACFEF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2" name="Grafický objekt 21">
              <a:extLst>
                <a:ext uri="{FF2B5EF4-FFF2-40B4-BE49-F238E27FC236}">
                  <a16:creationId xmlns:a16="http://schemas.microsoft.com/office/drawing/2014/main" id="{D9D13083-7433-7A41-9812-10A926FB1B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0206028A-BD57-470C-9B71-297203A578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9500876C-494A-AE40-BB68-202F9D2E433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17B44333-A92B-1F45-947C-508903C71A1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45817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délník 13">
            <a:extLst>
              <a:ext uri="{FF2B5EF4-FFF2-40B4-BE49-F238E27FC236}">
                <a16:creationId xmlns:a16="http://schemas.microsoft.com/office/drawing/2014/main" id="{E4590B06-0543-4571-8850-63C8D7437710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D939BFE6-5AA9-48F7-9C79-C28DD31BA5CC}"/>
              </a:ext>
            </a:extLst>
          </p:cNvPr>
          <p:cNvSpPr/>
          <p:nvPr userDrawn="1"/>
        </p:nvSpPr>
        <p:spPr>
          <a:xfrm>
            <a:off x="4221769" y="4075589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6E93BC90-CA18-4B4A-BD99-CD309B767F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A9EE4D8D-F381-054C-B05F-C0F073A786D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4E187FAC-8385-4A41-BD8D-043AE215E17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88323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2189213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Obrázek 3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5" name="Obdélník 2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5000"/>
                  <a:lumOff val="95000"/>
                </a:schemeClr>
              </a:gs>
              <a:gs pos="74000">
                <a:schemeClr val="accent3">
                  <a:lumMod val="45000"/>
                  <a:lumOff val="55000"/>
                  <a:alpha val="90000"/>
                </a:schemeClr>
              </a:gs>
              <a:gs pos="83000">
                <a:schemeClr val="accent3">
                  <a:lumMod val="45000"/>
                  <a:lumOff val="55000"/>
                  <a:alpha val="90000"/>
                </a:schemeClr>
              </a:gs>
              <a:gs pos="100000">
                <a:schemeClr val="accent3">
                  <a:lumMod val="30000"/>
                  <a:lumOff val="70000"/>
                  <a:alpha val="90000"/>
                </a:schemeClr>
              </a:gs>
            </a:gsLst>
            <a:lin ang="15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1364343" y="3700284"/>
            <a:ext cx="9144000" cy="1315225"/>
          </a:xfrm>
        </p:spPr>
        <p:txBody>
          <a:bodyPr anchor="b">
            <a:normAutofit/>
          </a:bodyPr>
          <a:lstStyle>
            <a:lvl1pPr algn="ctr">
              <a:defRPr sz="44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64341" y="5107060"/>
            <a:ext cx="9144000" cy="998820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lze upravit styl předlohy.</a:t>
            </a:r>
          </a:p>
        </p:txBody>
      </p:sp>
      <p:cxnSp>
        <p:nvCxnSpPr>
          <p:cNvPr id="7" name="Přímá spojnice 6"/>
          <p:cNvCxnSpPr/>
          <p:nvPr userDrawn="1"/>
        </p:nvCxnSpPr>
        <p:spPr>
          <a:xfrm>
            <a:off x="20409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>
          <a:xfrm>
            <a:off x="10220324" y="0"/>
            <a:ext cx="1971675" cy="365125"/>
          </a:xfrm>
          <a:noFill/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22" name="Přímá spojnice 21"/>
          <p:cNvCxnSpPr/>
          <p:nvPr userDrawn="1"/>
        </p:nvCxnSpPr>
        <p:spPr>
          <a:xfrm>
            <a:off x="7264966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Obrázek 3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3653" y="1319035"/>
            <a:ext cx="1984694" cy="1984694"/>
          </a:xfrm>
          <a:prstGeom prst="rect">
            <a:avLst/>
          </a:prstGeom>
        </p:spPr>
      </p:pic>
      <p:sp>
        <p:nvSpPr>
          <p:cNvPr id="6" name="Kosoúhelník 5"/>
          <p:cNvSpPr/>
          <p:nvPr userDrawn="1"/>
        </p:nvSpPr>
        <p:spPr>
          <a:xfrm rot="10800000">
            <a:off x="1503900" y="-12894"/>
            <a:ext cx="2438400" cy="900000"/>
          </a:xfrm>
          <a:prstGeom prst="parallelogram">
            <a:avLst>
              <a:gd name="adj" fmla="val 86251"/>
            </a:avLst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6667" y="-12894"/>
            <a:ext cx="2801962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689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8200" y="165100"/>
            <a:ext cx="9379857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755396"/>
            <a:ext cx="10375900" cy="4351338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cxnSp>
        <p:nvCxnSpPr>
          <p:cNvPr id="8" name="Přímá spojnice 7"/>
          <p:cNvCxnSpPr/>
          <p:nvPr userDrawn="1"/>
        </p:nvCxnSpPr>
        <p:spPr>
          <a:xfrm flipV="1">
            <a:off x="0" y="1085178"/>
            <a:ext cx="10218057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12" name="Přímá spojnice 11"/>
          <p:cNvCxnSpPr/>
          <p:nvPr userDrawn="1"/>
        </p:nvCxnSpPr>
        <p:spPr>
          <a:xfrm>
            <a:off x="11826903" y="1085177"/>
            <a:ext cx="365097" cy="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Obdélník 9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15" name="Obrázek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8781" y="414958"/>
            <a:ext cx="1340438" cy="1340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67068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7" r:id="rId3"/>
    <p:sldLayoutId id="2147483661" r:id="rId4"/>
    <p:sldLayoutId id="2147483658" r:id="rId5"/>
    <p:sldLayoutId id="2147483662" r:id="rId6"/>
    <p:sldLayoutId id="2147483760" r:id="rId7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2320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D364EC2-A2EC-4DE5-85B7-53077A78BE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DA035FA-16EA-48E9-A4CF-24D03D0A857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3058C2A-3294-4D93-B6D3-CD4C09A39BB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3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B6E0E2-ED72-462D-A571-FDF80829AF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AE22D9-ED75-49B2-874D-6B9FC81E11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152587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2" r:id="rId1"/>
    <p:sldLayoutId id="2147483763" r:id="rId2"/>
    <p:sldLayoutId id="2147483764" r:id="rId3"/>
    <p:sldLayoutId id="2147483765" r:id="rId4"/>
    <p:sldLayoutId id="2147483766" r:id="rId5"/>
    <p:sldLayoutId id="2147483767" r:id="rId6"/>
    <p:sldLayoutId id="2147483768" r:id="rId7"/>
    <p:sldLayoutId id="2147483769" r:id="rId8"/>
    <p:sldLayoutId id="2147483770" r:id="rId9"/>
    <p:sldLayoutId id="2147483771" r:id="rId10"/>
    <p:sldLayoutId id="2147483772" r:id="rId11"/>
    <p:sldLayoutId id="2147483773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3" Type="http://schemas.openxmlformats.org/officeDocument/2006/relationships/tags" Target="../tags/tag22.xml"/><Relationship Id="rId7" Type="http://schemas.openxmlformats.org/officeDocument/2006/relationships/tags" Target="../tags/tag26.xml"/><Relationship Id="rId12" Type="http://schemas.openxmlformats.org/officeDocument/2006/relationships/chart" Target="../charts/chart5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tags" Target="../tags/tag25.xml"/><Relationship Id="rId11" Type="http://schemas.openxmlformats.org/officeDocument/2006/relationships/slideLayout" Target="../slideLayouts/slideLayout7.xml"/><Relationship Id="rId5" Type="http://schemas.openxmlformats.org/officeDocument/2006/relationships/tags" Target="../tags/tag24.xml"/><Relationship Id="rId10" Type="http://schemas.openxmlformats.org/officeDocument/2006/relationships/tags" Target="../tags/tag29.xml"/><Relationship Id="rId4" Type="http://schemas.openxmlformats.org/officeDocument/2006/relationships/tags" Target="../tags/tag23.xml"/><Relationship Id="rId9" Type="http://schemas.openxmlformats.org/officeDocument/2006/relationships/tags" Target="../tags/tag2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30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3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3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3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chart" Target="../charts/chart1.xml"/><Relationship Id="rId4" Type="http://schemas.openxmlformats.org/officeDocument/2006/relationships/slideLayout" Target="../slideLayouts/slideLayout2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chart" Target="../charts/chart2.xml"/><Relationship Id="rId4" Type="http://schemas.openxmlformats.org/officeDocument/2006/relationships/slideLayout" Target="../slideLayouts/slideLayout2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chart" Target="../charts/chart3.xml"/><Relationship Id="rId4" Type="http://schemas.openxmlformats.org/officeDocument/2006/relationships/slideLayout" Target="../slideLayouts/slideLayout26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chart" Target="../charts/chart4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slideLayout" Target="../slideLayouts/slideLayout7.xml"/><Relationship Id="rId5" Type="http://schemas.openxmlformats.org/officeDocument/2006/relationships/tags" Target="../tags/tag14.xml"/><Relationship Id="rId10" Type="http://schemas.openxmlformats.org/officeDocument/2006/relationships/tags" Target="../tags/tag19.xml"/><Relationship Id="rId4" Type="http://schemas.openxmlformats.org/officeDocument/2006/relationships/tags" Target="../tags/tag13.xml"/><Relationship Id="rId9" Type="http://schemas.openxmlformats.org/officeDocument/2006/relationships/tags" Target="../tags/tag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4294967295"/>
          </p:nvPr>
        </p:nvSpPr>
        <p:spPr>
          <a:xfrm>
            <a:off x="11771313" y="6443663"/>
            <a:ext cx="42068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" name="Nadpis 1"/>
          <p:cNvSpPr>
            <a:spLocks noGrp="1"/>
          </p:cNvSpPr>
          <p:nvPr>
            <p:ph type="ctrTitle"/>
          </p:nvPr>
        </p:nvSpPr>
        <p:spPr>
          <a:xfrm>
            <a:off x="1368547" y="3690851"/>
            <a:ext cx="9842263" cy="1829090"/>
          </a:xfrm>
        </p:spPr>
        <p:txBody>
          <a:bodyPr>
            <a:normAutofit fontScale="90000"/>
          </a:bodyPr>
          <a:lstStyle/>
          <a:p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perační briefing ICŘT </a:t>
            </a:r>
            <a:b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i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Národní dispečink lůžkové péče</a:t>
            </a:r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cs-CZ" b="1" i="1" dirty="0"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Podnadpis 2"/>
          <p:cNvSpPr>
            <a:spLocks noGrp="1"/>
          </p:cNvSpPr>
          <p:nvPr>
            <p:ph type="subTitle" idx="1"/>
          </p:nvPr>
        </p:nvSpPr>
        <p:spPr>
          <a:xfrm>
            <a:off x="1659489" y="6344687"/>
            <a:ext cx="9144000" cy="513313"/>
          </a:xfrm>
        </p:spPr>
        <p:txBody>
          <a:bodyPr>
            <a:normAutofit/>
          </a:bodyPr>
          <a:lstStyle/>
          <a:p>
            <a:r>
              <a:rPr lang="cs-CZ" b="1" dirty="0"/>
              <a:t>3</a:t>
            </a:r>
            <a:r>
              <a:rPr lang="cs-CZ" b="1" dirty="0" smtClean="0"/>
              <a:t>. </a:t>
            </a:r>
            <a:r>
              <a:rPr lang="cs-CZ" b="1" dirty="0" smtClean="0"/>
              <a:t>prosince 2021</a:t>
            </a:r>
            <a:endParaRPr lang="cs-CZ" b="1" dirty="0"/>
          </a:p>
        </p:txBody>
      </p:sp>
    </p:spTree>
    <p:extLst>
      <p:ext uri="{BB962C8B-B14F-4D97-AF65-F5344CB8AC3E}">
        <p14:creationId xmlns:p14="http://schemas.microsoft.com/office/powerpoint/2010/main" val="138472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á republika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/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02A290B3-A2EE-4530-9710-BF16A1D9E25A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3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3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7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1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6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6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2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3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8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1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 75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52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5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9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2,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2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0,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967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5949C18A-7678-4D15-8F6A-EFB24C10C330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9803538" y="2479685"/>
            <a:ext cx="222578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a rozsah pravděpodobnostních predikcí 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CAC9764C-1726-4F19-AB7E-2336D49CB3DD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1" name="Skupina 20">
              <a:extLst>
                <a:ext uri="{FF2B5EF4-FFF2-40B4-BE49-F238E27FC236}">
                  <a16:creationId xmlns:a16="http://schemas.microsoft.com/office/drawing/2014/main" id="{29BF8DA5-D892-4FF6-B6E9-9956F758C13B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28" name="Přímá spojnice 27">
                <a:extLst>
                  <a:ext uri="{FF2B5EF4-FFF2-40B4-BE49-F238E27FC236}">
                    <a16:creationId xmlns:a16="http://schemas.microsoft.com/office/drawing/2014/main" id="{BE806961-B0B3-412C-BDBD-7D03137D724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9" name="Přímá spojnice 28">
                <a:extLst>
                  <a:ext uri="{FF2B5EF4-FFF2-40B4-BE49-F238E27FC236}">
                    <a16:creationId xmlns:a16="http://schemas.microsoft.com/office/drawing/2014/main" id="{CDA9AEA0-5D67-46A9-AF38-A846F117A54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0" name="Obdélník 29">
                <a:extLst>
                  <a:ext uri="{FF2B5EF4-FFF2-40B4-BE49-F238E27FC236}">
                    <a16:creationId xmlns:a16="http://schemas.microsoft.com/office/drawing/2014/main" id="{A30B6C2C-560A-4CEE-A08B-40B4FF6BBDDC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1" name="TextovéPole 28">
                <a:extLst>
                  <a:ext uri="{FF2B5EF4-FFF2-40B4-BE49-F238E27FC236}">
                    <a16:creationId xmlns:a16="http://schemas.microsoft.com/office/drawing/2014/main" id="{E60571A8-50D4-42C3-B0BB-CBAC9BCA8D24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>
                  <a:defRPr/>
                </a:pPr>
                <a:r>
                  <a:rPr lang="cs-CZ" sz="1200" kern="0" dirty="0">
                    <a:solidFill>
                      <a:srgbClr val="000000"/>
                    </a:solidFill>
                  </a:rPr>
                  <a:t>Reálné hodnoty</a:t>
                </a:r>
              </a:p>
              <a:p>
                <a:pPr lvl="0">
                  <a:defRPr/>
                </a:pP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horní hranice predikce </a:t>
                </a: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střední hodnoty predikce</a:t>
                </a:r>
              </a:p>
              <a:p>
                <a:pPr lvl="0">
                  <a:defRPr/>
                </a:pP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spodní hranice predikce </a:t>
                </a:r>
                <a:endParaRPr lang="cs-CZ" sz="1200" u="sng" dirty="0">
                  <a:solidFill>
                    <a:srgbClr val="000000"/>
                  </a:solidFill>
                  <a:cs typeface="Calibri" panose="020F0502020204030204" pitchFamily="34" charset="0"/>
                </a:endParaRPr>
              </a:p>
              <a:p>
                <a:pPr lvl="0">
                  <a:defRPr/>
                </a:pPr>
                <a:endParaRPr lang="cs-CZ" sz="1200" u="sng" dirty="0">
                  <a:solidFill>
                    <a:srgbClr val="000000"/>
                  </a:solidFill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5BF47050-791D-4300-9498-18BA71B847DE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32" name="TextBox 14">
            <a:extLst>
              <a:ext uri="{FF2B5EF4-FFF2-40B4-BE49-F238E27FC236}">
                <a16:creationId xmlns:a16="http://schemas.microsoft.com/office/drawing/2014/main" id="{8B80AF5B-6410-486D-B0DE-FA5358B46ADA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 rot="16200000">
            <a:off x="-1260971" y="3659017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ý a predikovaný počet pacientů</a:t>
            </a:r>
          </a:p>
        </p:txBody>
      </p:sp>
      <p:sp>
        <p:nvSpPr>
          <p:cNvPr id="27" name="TextovéPole 26"/>
          <p:cNvSpPr txBox="1"/>
          <p:nvPr/>
        </p:nvSpPr>
        <p:spPr>
          <a:xfrm>
            <a:off x="9811036" y="5919571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1.12.2021 0:26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82797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1">
            <a:extLst>
              <a:ext uri="{FF2B5EF4-FFF2-40B4-BE49-F238E27FC236}">
                <a16:creationId xmlns:a16="http://schemas.microsoft.com/office/drawing/2014/main" id="{B64DB608-673A-46BD-8E5E-BDC00F4784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6442" y="88247"/>
            <a:ext cx="9885238" cy="896492"/>
          </a:xfrm>
        </p:spPr>
        <p:txBody>
          <a:bodyPr>
            <a:normAutofit fontScale="90000"/>
          </a:bodyPr>
          <a:lstStyle/>
          <a:p>
            <a:r>
              <a:rPr lang="cs-CZ" dirty="0"/>
              <a:t>VÝVOJ POČTU HOSPITALIZACÍ – CELKOVÉ A JIP – OD BŘEZNA 2020</a:t>
            </a:r>
            <a:br>
              <a:rPr lang="cs-CZ" dirty="0"/>
            </a:br>
            <a:r>
              <a:rPr kumimoji="0" lang="cs-CZ" sz="2000" b="0" i="0" u="none" strike="noStrike" kern="1200" cap="all" spc="10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cs typeface="+mj-cs"/>
              </a:rPr>
              <a:t>zdroj: ÚZIS,</a:t>
            </a:r>
            <a:r>
              <a:rPr kumimoji="0" lang="nl-NL" sz="2000" b="0" i="0" u="none" strike="noStrike" kern="1200" cap="all" spc="10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cs typeface="+mj-cs"/>
              </a:rPr>
              <a:t> ISIN / COVID-19 - Informační systém </a:t>
            </a:r>
            <a:r>
              <a:rPr kumimoji="0" lang="nl-NL" sz="2000" b="0" i="0" u="none" strike="noStrike" kern="1200" cap="all" spc="100" normalizeH="0" baseline="0" noProof="0" dirty="0" smtClean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cs typeface="+mj-cs"/>
              </a:rPr>
              <a:t>infekční</a:t>
            </a:r>
            <a:r>
              <a:rPr kumimoji="0" lang="cs-CZ" sz="2000" b="0" i="0" u="none" strike="noStrike" kern="1200" cap="all" spc="100" normalizeH="0" baseline="0" noProof="0" dirty="0" smtClean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cs typeface="+mj-cs"/>
              </a:rPr>
              <a:t>ch</a:t>
            </a:r>
            <a:r>
              <a:rPr kumimoji="0" lang="nl-NL" sz="2000" b="0" i="0" u="none" strike="noStrike" kern="1200" cap="all" spc="100" normalizeH="0" baseline="0" noProof="0" dirty="0" smtClean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cs typeface="+mj-cs"/>
              </a:rPr>
              <a:t> nemoc</a:t>
            </a:r>
            <a:r>
              <a:rPr kumimoji="0" lang="cs-CZ" sz="2000" b="0" i="0" u="none" strike="noStrike" kern="1200" cap="all" spc="100" normalizeH="0" baseline="0" noProof="0" dirty="0" smtClean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cs typeface="+mj-cs"/>
              </a:rPr>
              <a:t>í</a:t>
            </a:r>
            <a:endParaRPr lang="cs-CZ" sz="2000" b="0" cap="all" spc="100" dirty="0">
              <a:solidFill>
                <a:prstClr val="black">
                  <a:lumMod val="95000"/>
                  <a:lumOff val="5000"/>
                </a:prstClr>
              </a:solidFill>
              <a:latin typeface="Tw Cen MT Condensed" panose="020B0606020104020203"/>
              <a:cs typeface="+mj-cs"/>
            </a:endParaRPr>
          </a:p>
        </p:txBody>
      </p:sp>
      <p:graphicFrame>
        <p:nvGraphicFramePr>
          <p:cNvPr id="6" name="Tabulka 7">
            <a:extLst>
              <a:ext uri="{FF2B5EF4-FFF2-40B4-BE49-F238E27FC236}">
                <a16:creationId xmlns:a16="http://schemas.microsoft.com/office/drawing/2014/main" id="{E4305667-7252-438B-B0A2-AF7DB9A9ED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70064336"/>
              </p:ext>
            </p:extLst>
          </p:nvPr>
        </p:nvGraphicFramePr>
        <p:xfrm>
          <a:off x="8663881" y="3497478"/>
          <a:ext cx="3311505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13329">
                  <a:extLst>
                    <a:ext uri="{9D8B030D-6E8A-4147-A177-3AD203B41FA5}">
                      <a16:colId xmlns:a16="http://schemas.microsoft.com/office/drawing/2014/main" val="1970852530"/>
                    </a:ext>
                  </a:extLst>
                </a:gridCol>
                <a:gridCol w="1087037">
                  <a:extLst>
                    <a:ext uri="{9D8B030D-6E8A-4147-A177-3AD203B41FA5}">
                      <a16:colId xmlns:a16="http://schemas.microsoft.com/office/drawing/2014/main" val="667889362"/>
                    </a:ext>
                  </a:extLst>
                </a:gridCol>
                <a:gridCol w="1111139">
                  <a:extLst>
                    <a:ext uri="{9D8B030D-6E8A-4147-A177-3AD203B41FA5}">
                      <a16:colId xmlns:a16="http://schemas.microsoft.com/office/drawing/2014/main" val="24087539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endParaRPr lang="cs-CZ" sz="13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6.10.2020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 smtClean="0">
                          <a:solidFill>
                            <a:prstClr val="black">
                              <a:lumMod val="95000"/>
                              <a:lumOff val="5000"/>
                            </a:prst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.11.2021</a:t>
                      </a:r>
                      <a:endParaRPr lang="cs-CZ" sz="13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12785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ospitalizac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 200</a:t>
                      </a:r>
                      <a:endParaRPr lang="cs-CZ" sz="1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4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 527</a:t>
                      </a:r>
                      <a:endParaRPr lang="cs-CZ" sz="1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60977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 toho JIP</a:t>
                      </a:r>
                      <a:endParaRPr lang="cs-CZ" sz="13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84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41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96070508"/>
                  </a:ext>
                </a:extLst>
              </a:tr>
            </a:tbl>
          </a:graphicData>
        </a:graphic>
      </p:graphicFrame>
      <p:sp>
        <p:nvSpPr>
          <p:cNvPr id="7" name="Obdélník 6"/>
          <p:cNvSpPr/>
          <p:nvPr/>
        </p:nvSpPr>
        <p:spPr>
          <a:xfrm>
            <a:off x="8663616" y="1992616"/>
            <a:ext cx="331176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dirty="0"/>
              <a:t>Data k </a:t>
            </a:r>
            <a:r>
              <a:rPr lang="cs-CZ" b="1" dirty="0" smtClean="0"/>
              <a:t>30.11.2021</a:t>
            </a:r>
            <a:endParaRPr lang="cs-CZ" b="1" dirty="0"/>
          </a:p>
          <a:p>
            <a:pPr algn="ctr"/>
            <a:r>
              <a:rPr lang="cs-CZ" dirty="0" smtClean="0"/>
              <a:t>odpovídala </a:t>
            </a:r>
            <a:r>
              <a:rPr lang="cs-CZ" dirty="0"/>
              <a:t>ve srovnání s loňským podzimem datům z </a:t>
            </a:r>
            <a:r>
              <a:rPr lang="cs-CZ" b="1" dirty="0" smtClean="0"/>
              <a:t>26.10.2020</a:t>
            </a:r>
            <a:endParaRPr lang="cs-CZ" b="1" dirty="0"/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E4305667-7252-438B-B0A2-AF7DB9A9EDF0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9219318" y="4914531"/>
          <a:ext cx="2200366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13329">
                  <a:extLst>
                    <a:ext uri="{9D8B030D-6E8A-4147-A177-3AD203B41FA5}">
                      <a16:colId xmlns:a16="http://schemas.microsoft.com/office/drawing/2014/main" val="1970852530"/>
                    </a:ext>
                  </a:extLst>
                </a:gridCol>
                <a:gridCol w="1087037">
                  <a:extLst>
                    <a:ext uri="{9D8B030D-6E8A-4147-A177-3AD203B41FA5}">
                      <a16:colId xmlns:a16="http://schemas.microsoft.com/office/drawing/2014/main" val="66788936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sz="13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ax. počet</a:t>
                      </a:r>
                      <a:endParaRPr lang="cs-CZ" sz="13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5.3.2021</a:t>
                      </a:r>
                      <a:endParaRPr lang="cs-CZ" sz="13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12785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ospitalizac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0" i="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9 551</a:t>
                      </a:r>
                      <a:endParaRPr lang="cs-CZ" sz="1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60977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 toho JIP</a:t>
                      </a:r>
                      <a:endParaRPr lang="cs-CZ" sz="13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0" i="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 886</a:t>
                      </a:r>
                      <a:endParaRPr lang="cs-CZ" sz="1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96070508"/>
                  </a:ext>
                </a:extLst>
              </a:tr>
            </a:tbl>
          </a:graphicData>
        </a:graphic>
      </p:graphicFrame>
      <p:pic>
        <p:nvPicPr>
          <p:cNvPr id="10" name="Zástupný obsah 7">
            <a:extLst>
              <a:ext uri="{FF2B5EF4-FFF2-40B4-BE49-F238E27FC236}">
                <a16:creationId xmlns:a16="http://schemas.microsoft.com/office/drawing/2014/main" id="{72F6A126-A101-4573-B135-F4C768A173C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119" y="984739"/>
            <a:ext cx="8592497" cy="5265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14788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88857" y="237394"/>
            <a:ext cx="9885238" cy="896492"/>
          </a:xfrm>
        </p:spPr>
        <p:txBody>
          <a:bodyPr/>
          <a:lstStyle/>
          <a:p>
            <a:r>
              <a:rPr lang="cs-CZ" dirty="0"/>
              <a:t>Risk </a:t>
            </a:r>
            <a:r>
              <a:rPr lang="cs-CZ" dirty="0" err="1" smtClean="0"/>
              <a:t>mapping</a:t>
            </a:r>
            <a:r>
              <a:rPr lang="cs-CZ" dirty="0" smtClean="0"/>
              <a:t> – zdroj UZIS</a:t>
            </a:r>
            <a:r>
              <a:rPr lang="cs-CZ" sz="2800" b="0" dirty="0">
                <a:solidFill>
                  <a:srgbClr val="000000"/>
                </a:solidFill>
                <a:latin typeface="Calibri" panose="020F0502020204030204" pitchFamily="34" charset="0"/>
              </a:rPr>
              <a:t/>
            </a:r>
            <a:br>
              <a:rPr lang="cs-CZ" sz="2800" b="0" dirty="0">
                <a:solidFill>
                  <a:srgbClr val="000000"/>
                </a:solidFill>
                <a:latin typeface="Calibri" panose="020F0502020204030204" pitchFamily="34" charset="0"/>
              </a:rPr>
            </a:br>
            <a:endParaRPr lang="cs-CZ" sz="2800" dirty="0"/>
          </a:p>
        </p:txBody>
      </p:sp>
      <p:sp>
        <p:nvSpPr>
          <p:cNvPr id="4" name="TextovéPole 3"/>
          <p:cNvSpPr txBox="1"/>
          <p:nvPr/>
        </p:nvSpPr>
        <p:spPr>
          <a:xfrm>
            <a:off x="175952" y="887701"/>
            <a:ext cx="999814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smtClean="0"/>
              <a:t>Predikce počtu nově hospitalizovaných </a:t>
            </a:r>
            <a:r>
              <a:rPr lang="cs-CZ" dirty="0"/>
              <a:t>s COVID-19 v následujících </a:t>
            </a:r>
            <a:r>
              <a:rPr lang="cs-CZ" dirty="0" smtClean="0"/>
              <a:t>10 dnech z aktuálního prevalenčního poolu.</a:t>
            </a:r>
            <a:endParaRPr lang="cs-CZ" dirty="0"/>
          </a:p>
        </p:txBody>
      </p:sp>
      <p:graphicFrame>
        <p:nvGraphicFramePr>
          <p:cNvPr id="7" name="Tabulka 6"/>
          <p:cNvGraphicFramePr>
            <a:graphicFrameLocks noGrp="1"/>
          </p:cNvGraphicFramePr>
          <p:nvPr>
            <p:extLst/>
          </p:nvPr>
        </p:nvGraphicFramePr>
        <p:xfrm>
          <a:off x="3134561" y="1485449"/>
          <a:ext cx="4919192" cy="4765469"/>
        </p:xfrm>
        <a:graphic>
          <a:graphicData uri="http://schemas.openxmlformats.org/drawingml/2006/table">
            <a:tbl>
              <a:tblPr/>
              <a:tblGrid>
                <a:gridCol w="2175798">
                  <a:extLst>
                    <a:ext uri="{9D8B030D-6E8A-4147-A177-3AD203B41FA5}">
                      <a16:colId xmlns:a16="http://schemas.microsoft.com/office/drawing/2014/main" val="2283760119"/>
                    </a:ext>
                  </a:extLst>
                </a:gridCol>
                <a:gridCol w="2743394">
                  <a:extLst>
                    <a:ext uri="{9D8B030D-6E8A-4147-A177-3AD203B41FA5}">
                      <a16:colId xmlns:a16="http://schemas.microsoft.com/office/drawing/2014/main" val="1182091541"/>
                    </a:ext>
                  </a:extLst>
                </a:gridCol>
              </a:tblGrid>
              <a:tr h="9649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Odhad počtu nově hospitalizovaných z nově pozitivních za posledních 14 dní (do 10 dnů od hodnoceného data, odečteni již hospitalizovaní)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9274775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 208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7136355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 130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1852109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30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8135392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61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39613277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3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49550469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86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15614860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89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94459839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15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05802972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91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0479038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57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44906426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 282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20855839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43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27665130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84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9472455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 297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5416366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 878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8913107"/>
                  </a:ext>
                </a:extLst>
              </a:tr>
            </a:tbl>
          </a:graphicData>
        </a:graphic>
      </p:graphicFrame>
      <p:sp>
        <p:nvSpPr>
          <p:cNvPr id="9" name="TextovéPole 8"/>
          <p:cNvSpPr txBox="1"/>
          <p:nvPr/>
        </p:nvSpPr>
        <p:spPr>
          <a:xfrm>
            <a:off x="9455890" y="5112218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1.12.2021 0:26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02727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7" name="Tabulk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44088458"/>
              </p:ext>
            </p:extLst>
          </p:nvPr>
        </p:nvGraphicFramePr>
        <p:xfrm>
          <a:off x="367815" y="963978"/>
          <a:ext cx="11405086" cy="5163204"/>
        </p:xfrm>
        <a:graphic>
          <a:graphicData uri="http://schemas.openxmlformats.org/drawingml/2006/table">
            <a:tbl>
              <a:tblPr firstRow="1" firstCol="1" bandRow="1"/>
              <a:tblGrid>
                <a:gridCol w="1399893">
                  <a:extLst>
                    <a:ext uri="{9D8B030D-6E8A-4147-A177-3AD203B41FA5}">
                      <a16:colId xmlns:a16="http://schemas.microsoft.com/office/drawing/2014/main" val="139736479"/>
                    </a:ext>
                  </a:extLst>
                </a:gridCol>
                <a:gridCol w="2170199">
                  <a:extLst>
                    <a:ext uri="{9D8B030D-6E8A-4147-A177-3AD203B41FA5}">
                      <a16:colId xmlns:a16="http://schemas.microsoft.com/office/drawing/2014/main" val="1590847519"/>
                    </a:ext>
                  </a:extLst>
                </a:gridCol>
                <a:gridCol w="2420126">
                  <a:extLst>
                    <a:ext uri="{9D8B030D-6E8A-4147-A177-3AD203B41FA5}">
                      <a16:colId xmlns:a16="http://schemas.microsoft.com/office/drawing/2014/main" val="2576979814"/>
                    </a:ext>
                  </a:extLst>
                </a:gridCol>
                <a:gridCol w="2079315">
                  <a:extLst>
                    <a:ext uri="{9D8B030D-6E8A-4147-A177-3AD203B41FA5}">
                      <a16:colId xmlns:a16="http://schemas.microsoft.com/office/drawing/2014/main" val="2056688962"/>
                    </a:ext>
                  </a:extLst>
                </a:gridCol>
                <a:gridCol w="3335553">
                  <a:extLst>
                    <a:ext uri="{9D8B030D-6E8A-4147-A177-3AD203B41FA5}">
                      <a16:colId xmlns:a16="http://schemas.microsoft.com/office/drawing/2014/main" val="573671383"/>
                    </a:ext>
                  </a:extLst>
                </a:gridCol>
              </a:tblGrid>
              <a:tr h="74033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0206147"/>
                  </a:ext>
                </a:extLst>
              </a:tr>
              <a:tr h="131276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Hl. m. Prah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2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etrvale kapacitní problémy FTN a</a:t>
                      </a:r>
                      <a:b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FNKV, ostatní navyšují kapacity dle potřeby, snaha o maximální zachování</a:t>
                      </a:r>
                      <a:b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30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.</a:t>
                      </a:r>
                    </a:p>
                    <a:p>
                      <a:pPr marL="0" indent="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cs-CZ" sz="1300" b="0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FTN žádá o zastavení přísunu</a:t>
                      </a:r>
                      <a:r>
                        <a:rPr lang="cs-CZ" sz="1300" b="0" kern="1200" baseline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C+ pac. z důvodu úplného vyčerpání kapacit IP.</a:t>
                      </a:r>
                      <a:endParaRPr lang="cs-CZ" sz="1300" b="0" kern="1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91312754"/>
                  </a:ext>
                </a:extLst>
              </a:tr>
              <a:tr h="147797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ardubi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plné</a:t>
                      </a: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ní provoz prakticky plně zastaven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 Situace se zhoršuje, postupně navyšovány kapacity standardní i intenzivní péče, kde již minimální rezerva jednotek lůžek. Mnohde již na hraně možností, které jsou nižší než v jarních měsících. </a:t>
                      </a:r>
                      <a:r>
                        <a:rPr lang="cs-CZ" sz="1300" b="0" i="0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írně krizová situace může i během hodin přejít v krizovou.</a:t>
                      </a:r>
                      <a:endParaRPr lang="cs-CZ" sz="1300" kern="1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69805074"/>
                  </a:ext>
                </a:extLst>
              </a:tr>
              <a:tr h="87705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álovéhrade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5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 D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2850101"/>
                  </a:ext>
                </a:extLst>
              </a:tr>
              <a:tr h="74033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oravskoslez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0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plné</a:t>
                      </a: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Lze očekávat další zhoršování především v segmentu intenzivní péče jak pro COVID tak i non-COVID pacienty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6073628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806606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93472734"/>
              </p:ext>
            </p:extLst>
          </p:nvPr>
        </p:nvGraphicFramePr>
        <p:xfrm>
          <a:off x="270500" y="990491"/>
          <a:ext cx="11587543" cy="5327279"/>
        </p:xfrm>
        <a:graphic>
          <a:graphicData uri="http://schemas.openxmlformats.org/drawingml/2006/table">
            <a:tbl>
              <a:tblPr firstRow="1" firstCol="1" bandRow="1"/>
              <a:tblGrid>
                <a:gridCol w="1422287">
                  <a:extLst>
                    <a:ext uri="{9D8B030D-6E8A-4147-A177-3AD203B41FA5}">
                      <a16:colId xmlns:a16="http://schemas.microsoft.com/office/drawing/2014/main" val="2516720382"/>
                    </a:ext>
                  </a:extLst>
                </a:gridCol>
                <a:gridCol w="2204916">
                  <a:extLst>
                    <a:ext uri="{9D8B030D-6E8A-4147-A177-3AD203B41FA5}">
                      <a16:colId xmlns:a16="http://schemas.microsoft.com/office/drawing/2014/main" val="2538168158"/>
                    </a:ext>
                  </a:extLst>
                </a:gridCol>
                <a:gridCol w="2458844">
                  <a:extLst>
                    <a:ext uri="{9D8B030D-6E8A-4147-A177-3AD203B41FA5}">
                      <a16:colId xmlns:a16="http://schemas.microsoft.com/office/drawing/2014/main" val="1374489751"/>
                    </a:ext>
                  </a:extLst>
                </a:gridCol>
                <a:gridCol w="2112580">
                  <a:extLst>
                    <a:ext uri="{9D8B030D-6E8A-4147-A177-3AD203B41FA5}">
                      <a16:colId xmlns:a16="http://schemas.microsoft.com/office/drawing/2014/main" val="2988357666"/>
                    </a:ext>
                  </a:extLst>
                </a:gridCol>
                <a:gridCol w="3388916">
                  <a:extLst>
                    <a:ext uri="{9D8B030D-6E8A-4147-A177-3AD203B41FA5}">
                      <a16:colId xmlns:a16="http://schemas.microsoft.com/office/drawing/2014/main" val="3364315349"/>
                    </a:ext>
                  </a:extLst>
                </a:gridCol>
              </a:tblGrid>
              <a:tr h="59109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5793804"/>
                  </a:ext>
                </a:extLst>
              </a:tr>
              <a:tr h="15799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ibere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ochází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k o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ezení kapacity pro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on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 pacienty v IP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 jednání KŠ kraje:</a:t>
                      </a:r>
                    </a:p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cs-CZ" sz="1300" b="0" i="0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mezení </a:t>
                      </a:r>
                      <a:r>
                        <a:rPr lang="cs-CZ" sz="1300" b="0" i="0" kern="1200" dirty="0" err="1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b="0" i="0" kern="1200" baseline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v páteřních </a:t>
                      </a:r>
                      <a:r>
                        <a:rPr lang="cs-CZ" sz="1300" b="0" i="0" kern="1200" baseline="0" dirty="0" err="1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em</a:t>
                      </a:r>
                      <a:r>
                        <a:rPr lang="cs-CZ" sz="1300" b="0" i="0" kern="1200" baseline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 kraje</a:t>
                      </a:r>
                    </a:p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cs-CZ" sz="1300" b="0" i="0" kern="1200" baseline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edostatek zdravotníků v LBK</a:t>
                      </a:r>
                    </a:p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cs-CZ" sz="1300" b="0" i="0" kern="1200" baseline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Z kapacitních a personálních důvodů laboratoří v kraji trvá vyhodnocení PCR i týden.</a:t>
                      </a:r>
                      <a:endParaRPr lang="cs-CZ" sz="1300" b="0" i="0" kern="1200" dirty="0" smtClean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59838243"/>
                  </a:ext>
                </a:extLst>
              </a:tr>
              <a:tr h="138213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Olomoucký 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cca na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a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omezená cca 40-50%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P - vysoká, ale t.č. konstantn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bložnost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(částečně podíl vysoké mortality v IP)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Zajištěn akutní provoz (neodkladné stavy,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nkooperativa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)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Trvá problém s nedostatkem kvalifikovaného personálu zejména v IP. 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2932507"/>
                  </a:ext>
                </a:extLst>
              </a:tr>
              <a:tr h="139997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lzeňský 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5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kraji je lineární nárůst cca 10 pacientů denně, dochází k navýšení počtu pacientů jdoucích rovnou z terénu na JIP – v minulém týdnu cca 1hosp/denně, nyní 3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odsp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/den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roblém personálu je ve všech zařízeních – extrémní v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em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 Sušice, Stod.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250780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5989657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7221843"/>
              </p:ext>
            </p:extLst>
          </p:nvPr>
        </p:nvGraphicFramePr>
        <p:xfrm>
          <a:off x="350228" y="664385"/>
          <a:ext cx="11519385" cy="5985051"/>
        </p:xfrm>
        <a:graphic>
          <a:graphicData uri="http://schemas.openxmlformats.org/drawingml/2006/table">
            <a:tbl>
              <a:tblPr firstRow="1" firstCol="1" bandRow="1"/>
              <a:tblGrid>
                <a:gridCol w="1413921">
                  <a:extLst>
                    <a:ext uri="{9D8B030D-6E8A-4147-A177-3AD203B41FA5}">
                      <a16:colId xmlns:a16="http://schemas.microsoft.com/office/drawing/2014/main" val="3772522195"/>
                    </a:ext>
                  </a:extLst>
                </a:gridCol>
                <a:gridCol w="2191947">
                  <a:extLst>
                    <a:ext uri="{9D8B030D-6E8A-4147-A177-3AD203B41FA5}">
                      <a16:colId xmlns:a16="http://schemas.microsoft.com/office/drawing/2014/main" val="842899262"/>
                    </a:ext>
                  </a:extLst>
                </a:gridCol>
                <a:gridCol w="2444381">
                  <a:extLst>
                    <a:ext uri="{9D8B030D-6E8A-4147-A177-3AD203B41FA5}">
                      <a16:colId xmlns:a16="http://schemas.microsoft.com/office/drawing/2014/main" val="105783194"/>
                    </a:ext>
                  </a:extLst>
                </a:gridCol>
                <a:gridCol w="2100154">
                  <a:extLst>
                    <a:ext uri="{9D8B030D-6E8A-4147-A177-3AD203B41FA5}">
                      <a16:colId xmlns:a16="http://schemas.microsoft.com/office/drawing/2014/main" val="3894075409"/>
                    </a:ext>
                  </a:extLst>
                </a:gridCol>
                <a:gridCol w="3368982">
                  <a:extLst>
                    <a:ext uri="{9D8B030D-6E8A-4147-A177-3AD203B41FA5}">
                      <a16:colId xmlns:a16="http://schemas.microsoft.com/office/drawing/2014/main" val="2922963808"/>
                    </a:ext>
                  </a:extLst>
                </a:gridCol>
              </a:tblGrid>
              <a:tr h="60313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8164548"/>
                  </a:ext>
                </a:extLst>
              </a:tr>
              <a:tr h="76701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arlovar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emocnice Sokolov – zcela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zastavena el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ktivní operativ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8287979"/>
                  </a:ext>
                </a:extLst>
              </a:tr>
              <a:tr h="93257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hoče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6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Z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jednání KŠ:</a:t>
                      </a:r>
                    </a:p>
                    <a:p>
                      <a:pPr>
                        <a:lnSpc>
                          <a:spcPct val="107000"/>
                        </a:lnSpc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ysoká naplněnost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vidových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oddělení nemocnic, připravena redistribuce pacientů mezi nemocnicemi v kraji.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6967152"/>
                  </a:ext>
                </a:extLst>
              </a:tr>
              <a:tr h="135713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tředočeský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5.11.21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elkové hodnocení situace – zatím bez potřeby přesunů pacientů mimo spádovou oblast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mezení operativy je nerovnoměrné, někde pouze akutní operativa, jinde ještě omezení do 20%.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ouhrně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mezi C/D.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9623958"/>
                  </a:ext>
                </a:extLst>
              </a:tr>
              <a:tr h="113420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homorav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6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lné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vyčerpány lidské i materiální zdroje</a:t>
                      </a: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Odlišná situace v různých okresech – nejhorší v Blansku a Vyškově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.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cs-CZ" sz="1300" b="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yjovská nemocnice vyhlásila HPO.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cs-CZ" sz="1300" b="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FN Brno omezuje ambulantní péči</a:t>
                      </a:r>
                      <a:r>
                        <a:rPr lang="cs-CZ" sz="1300" b="0" baseline="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z důvodu </a:t>
                      </a:r>
                      <a:r>
                        <a:rPr lang="cs-CZ" sz="1300" b="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edostatek personálu. </a:t>
                      </a:r>
                      <a:endParaRPr lang="cs-CZ" sz="13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4002855"/>
                  </a:ext>
                </a:extLst>
              </a:tr>
              <a:tr h="115052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Vysočin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přímo řízených nemocnicích kraje (Jihlava, Pelhřimov,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avlBro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, Třebíč, Nové Město n/M).</a:t>
                      </a: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tuace obdobná, zatím bez překladů v rámci kraje.</a:t>
                      </a:r>
                      <a:endParaRPr lang="cs-CZ" sz="13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389813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5939514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60978670"/>
              </p:ext>
            </p:extLst>
          </p:nvPr>
        </p:nvGraphicFramePr>
        <p:xfrm>
          <a:off x="337698" y="706833"/>
          <a:ext cx="11435203" cy="5963539"/>
        </p:xfrm>
        <a:graphic>
          <a:graphicData uri="http://schemas.openxmlformats.org/drawingml/2006/table">
            <a:tbl>
              <a:tblPr firstRow="1" firstCol="1" bandRow="1"/>
              <a:tblGrid>
                <a:gridCol w="1403588">
                  <a:extLst>
                    <a:ext uri="{9D8B030D-6E8A-4147-A177-3AD203B41FA5}">
                      <a16:colId xmlns:a16="http://schemas.microsoft.com/office/drawing/2014/main" val="3544378427"/>
                    </a:ext>
                  </a:extLst>
                </a:gridCol>
                <a:gridCol w="2175930">
                  <a:extLst>
                    <a:ext uri="{9D8B030D-6E8A-4147-A177-3AD203B41FA5}">
                      <a16:colId xmlns:a16="http://schemas.microsoft.com/office/drawing/2014/main" val="2335077237"/>
                    </a:ext>
                  </a:extLst>
                </a:gridCol>
                <a:gridCol w="2426518">
                  <a:extLst>
                    <a:ext uri="{9D8B030D-6E8A-4147-A177-3AD203B41FA5}">
                      <a16:colId xmlns:a16="http://schemas.microsoft.com/office/drawing/2014/main" val="1383355635"/>
                    </a:ext>
                  </a:extLst>
                </a:gridCol>
                <a:gridCol w="2084806">
                  <a:extLst>
                    <a:ext uri="{9D8B030D-6E8A-4147-A177-3AD203B41FA5}">
                      <a16:colId xmlns:a16="http://schemas.microsoft.com/office/drawing/2014/main" val="142418389"/>
                    </a:ext>
                  </a:extLst>
                </a:gridCol>
                <a:gridCol w="3344361">
                  <a:extLst>
                    <a:ext uri="{9D8B030D-6E8A-4147-A177-3AD203B41FA5}">
                      <a16:colId xmlns:a16="http://schemas.microsoft.com/office/drawing/2014/main" val="413358982"/>
                    </a:ext>
                  </a:extLst>
                </a:gridCol>
              </a:tblGrid>
              <a:tr h="62429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8208484"/>
                  </a:ext>
                </a:extLst>
              </a:tr>
              <a:tr h="240677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Úste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5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rvá nárůst C19 hospitalizací, výrazněji standard než JIP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poskytují péči ve výrazně </a:t>
                      </a:r>
                      <a:r>
                        <a:rPr lang="cs-CZ" sz="1300" dirty="0" err="1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uboptimálním</a:t>
                      </a:r>
                      <a:r>
                        <a:rPr lang="cs-CZ" sz="13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personálním zajištění (zejména NLZP), pro další rozšíření péče je klíčové personální posílení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err="1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imitovaně</a:t>
                      </a:r>
                      <a:r>
                        <a:rPr lang="cs-CZ" sz="13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lze zajistit v redistribucí v rámci nemocnic, s předpokladem dalšího nárůstu počtů pacientů je potřeba i externího posílení alespoň pomocným personálem (AČR, HZS, studenti)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tuace bez významných změn, nadále vážná, ale zvladatelná v rámci kraje.</a:t>
                      </a:r>
                      <a:endParaRPr lang="cs-CZ" sz="1300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80712985"/>
                  </a:ext>
                </a:extLst>
              </a:tr>
              <a:tr h="104186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Zlín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5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kraji je lineární nárůst cca 15 pacientů denně na standardních odd., zatím méně na JIP, ty jsou plné především v menších nemocnicích (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alMez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, Vsetín, U.H.). Také dochází k navýšení počtu pacientů jdoucích rovnou z terénu. Problém personálu je ve všech zařízeních – extrémní v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U.Hradišt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(170 PN, z toho 40 pro COVID). Řada nemocnic diskutuje o HPO. Při absenci nouzového stavu a hromadného postižení osob nelze dobře rekrutovat pomocnou sílu do nemocnic, žádáme razantní omezení sociálních kontaktů všemi opatřeními.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045314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194208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1"/>
            <a:ext cx="11038993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7" name="TextovéPole 6"/>
          <p:cNvSpPr txBox="1"/>
          <p:nvPr/>
        </p:nvSpPr>
        <p:spPr>
          <a:xfrm>
            <a:off x="8966003" y="2798855"/>
            <a:ext cx="2923309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 smtClean="0"/>
              <a:t>Obsazená lůžka IP C+ pacienty k </a:t>
            </a:r>
          </a:p>
          <a:p>
            <a:pPr algn="ctr"/>
            <a:r>
              <a:rPr lang="cs-CZ" b="1" dirty="0"/>
              <a:t>3</a:t>
            </a:r>
            <a:r>
              <a:rPr lang="cs-CZ" b="1" dirty="0" smtClean="0"/>
              <a:t>.12.2021 </a:t>
            </a:r>
            <a:r>
              <a:rPr lang="cs-CZ" b="1" dirty="0" smtClean="0"/>
              <a:t>00:26</a:t>
            </a:r>
          </a:p>
          <a:p>
            <a:pPr algn="ctr"/>
            <a:endParaRPr lang="cs-CZ" b="1" dirty="0"/>
          </a:p>
          <a:p>
            <a:pPr algn="ctr"/>
            <a:r>
              <a:rPr lang="cs-CZ" b="1" dirty="0" smtClean="0"/>
              <a:t>934</a:t>
            </a:r>
            <a:endParaRPr lang="cs-CZ" b="1" dirty="0" smtClean="0"/>
          </a:p>
          <a:p>
            <a:pPr algn="ctr"/>
            <a:endParaRPr lang="cs-CZ" sz="2000" b="1" dirty="0"/>
          </a:p>
        </p:txBody>
      </p:sp>
      <p:graphicFrame>
        <p:nvGraphicFramePr>
          <p:cNvPr id="5" name="Tabulk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74958880"/>
              </p:ext>
            </p:extLst>
          </p:nvPr>
        </p:nvGraphicFramePr>
        <p:xfrm>
          <a:off x="332818" y="998372"/>
          <a:ext cx="10360064" cy="5325151"/>
        </p:xfrm>
        <a:graphic>
          <a:graphicData uri="http://schemas.openxmlformats.org/drawingml/2006/table">
            <a:tbl>
              <a:tblPr/>
              <a:tblGrid>
                <a:gridCol w="2335577">
                  <a:extLst>
                    <a:ext uri="{9D8B030D-6E8A-4147-A177-3AD203B41FA5}">
                      <a16:colId xmlns:a16="http://schemas.microsoft.com/office/drawing/2014/main" val="738720402"/>
                    </a:ext>
                  </a:extLst>
                </a:gridCol>
                <a:gridCol w="1330195">
                  <a:extLst>
                    <a:ext uri="{9D8B030D-6E8A-4147-A177-3AD203B41FA5}">
                      <a16:colId xmlns:a16="http://schemas.microsoft.com/office/drawing/2014/main" val="2226842504"/>
                    </a:ext>
                  </a:extLst>
                </a:gridCol>
                <a:gridCol w="1314729">
                  <a:extLst>
                    <a:ext uri="{9D8B030D-6E8A-4147-A177-3AD203B41FA5}">
                      <a16:colId xmlns:a16="http://schemas.microsoft.com/office/drawing/2014/main" val="2592882940"/>
                    </a:ext>
                  </a:extLst>
                </a:gridCol>
                <a:gridCol w="1314729">
                  <a:extLst>
                    <a:ext uri="{9D8B030D-6E8A-4147-A177-3AD203B41FA5}">
                      <a16:colId xmlns:a16="http://schemas.microsoft.com/office/drawing/2014/main" val="4139509104"/>
                    </a:ext>
                  </a:extLst>
                </a:gridCol>
                <a:gridCol w="1376599">
                  <a:extLst>
                    <a:ext uri="{9D8B030D-6E8A-4147-A177-3AD203B41FA5}">
                      <a16:colId xmlns:a16="http://schemas.microsoft.com/office/drawing/2014/main" val="2776827956"/>
                    </a:ext>
                  </a:extLst>
                </a:gridCol>
                <a:gridCol w="1095092">
                  <a:extLst>
                    <a:ext uri="{9D8B030D-6E8A-4147-A177-3AD203B41FA5}">
                      <a16:colId xmlns:a16="http://schemas.microsoft.com/office/drawing/2014/main" val="2116180432"/>
                    </a:ext>
                  </a:extLst>
                </a:gridCol>
                <a:gridCol w="1593143">
                  <a:extLst>
                    <a:ext uri="{9D8B030D-6E8A-4147-A177-3AD203B41FA5}">
                      <a16:colId xmlns:a16="http://schemas.microsoft.com/office/drawing/2014/main" val="2659742003"/>
                    </a:ext>
                  </a:extLst>
                </a:gridCol>
              </a:tblGrid>
              <a:tr h="209055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infekční oddělení</a:t>
                      </a: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7E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7194653"/>
                  </a:ext>
                </a:extLst>
              </a:tr>
              <a:tr h="209055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(ARO + JIP) v ČR k 3.12. 2021, 11:00 h</a:t>
                      </a: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37753948"/>
                  </a:ext>
                </a:extLst>
              </a:tr>
              <a:tr h="173216"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01503939"/>
                  </a:ext>
                </a:extLst>
              </a:tr>
              <a:tr h="185163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Lůžka IP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72091193"/>
                  </a:ext>
                </a:extLst>
              </a:tr>
              <a:tr h="722733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Covid+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Covid+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77261170"/>
                  </a:ext>
                </a:extLst>
              </a:tr>
              <a:tr h="17919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5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26835280"/>
                  </a:ext>
                </a:extLst>
              </a:tr>
              <a:tr h="17919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61158659"/>
                  </a:ext>
                </a:extLst>
              </a:tr>
              <a:tr h="17919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79902002"/>
                  </a:ext>
                </a:extLst>
              </a:tr>
              <a:tr h="17919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7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51755327"/>
                  </a:ext>
                </a:extLst>
              </a:tr>
              <a:tr h="18665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874497"/>
                  </a:ext>
                </a:extLst>
              </a:tr>
              <a:tr h="17919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8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8205542"/>
                  </a:ext>
                </a:extLst>
              </a:tr>
              <a:tr h="17919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5953474"/>
                  </a:ext>
                </a:extLst>
              </a:tr>
              <a:tr h="17919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56335840"/>
                  </a:ext>
                </a:extLst>
              </a:tr>
              <a:tr h="17919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38451745"/>
                  </a:ext>
                </a:extLst>
              </a:tr>
              <a:tr h="17919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76673618"/>
                  </a:ext>
                </a:extLst>
              </a:tr>
              <a:tr h="17919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4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46720764"/>
                  </a:ext>
                </a:extLst>
              </a:tr>
              <a:tr h="17919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4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60277781"/>
                  </a:ext>
                </a:extLst>
              </a:tr>
              <a:tr h="17919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34059152"/>
                  </a:ext>
                </a:extLst>
              </a:tr>
              <a:tr h="2015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9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84994386"/>
                  </a:ext>
                </a:extLst>
              </a:tr>
              <a:tr h="19412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18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3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7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8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71175104"/>
                  </a:ext>
                </a:extLst>
              </a:tr>
              <a:tr h="253853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96211779"/>
                  </a:ext>
                </a:extLst>
              </a:tr>
              <a:tr h="173216"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50094195"/>
                  </a:ext>
                </a:extLst>
              </a:tr>
              <a:tr h="340461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elkových kapacit</a:t>
                      </a: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99005814"/>
                  </a:ext>
                </a:extLst>
              </a:tr>
              <a:tr h="179190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x</a:t>
                      </a: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038317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8571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800" dirty="0" smtClean="0"/>
              <a:t>Národní dispečink lůžkové péče</a:t>
            </a:r>
            <a:endParaRPr lang="cs-CZ" sz="2800" dirty="0"/>
          </a:p>
        </p:txBody>
      </p:sp>
      <p:sp>
        <p:nvSpPr>
          <p:cNvPr id="5" name="TextovéPole 4"/>
          <p:cNvSpPr txBox="1"/>
          <p:nvPr/>
        </p:nvSpPr>
        <p:spPr>
          <a:xfrm>
            <a:off x="9001173" y="3130491"/>
            <a:ext cx="292330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* Izolační </a:t>
            </a:r>
            <a:r>
              <a:rPr lang="cs-CZ" sz="1600" b="1" dirty="0" smtClean="0"/>
              <a:t>lůžka </a:t>
            </a:r>
            <a:r>
              <a:rPr lang="cs-CZ" sz="1600" b="1" dirty="0"/>
              <a:t>IP jsou umístěna na neinfekčních odděleních IP.</a:t>
            </a:r>
          </a:p>
        </p:txBody>
      </p:sp>
      <p:graphicFrame>
        <p:nvGraphicFramePr>
          <p:cNvPr id="6" name="Tabulk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88668738"/>
              </p:ext>
            </p:extLst>
          </p:nvPr>
        </p:nvGraphicFramePr>
        <p:xfrm>
          <a:off x="149290" y="979718"/>
          <a:ext cx="10618237" cy="5374434"/>
        </p:xfrm>
        <a:graphic>
          <a:graphicData uri="http://schemas.openxmlformats.org/drawingml/2006/table">
            <a:tbl>
              <a:tblPr/>
              <a:tblGrid>
                <a:gridCol w="2393779">
                  <a:extLst>
                    <a:ext uri="{9D8B030D-6E8A-4147-A177-3AD203B41FA5}">
                      <a16:colId xmlns:a16="http://schemas.microsoft.com/office/drawing/2014/main" val="2724407794"/>
                    </a:ext>
                  </a:extLst>
                </a:gridCol>
                <a:gridCol w="1363346">
                  <a:extLst>
                    <a:ext uri="{9D8B030D-6E8A-4147-A177-3AD203B41FA5}">
                      <a16:colId xmlns:a16="http://schemas.microsoft.com/office/drawing/2014/main" val="1428612627"/>
                    </a:ext>
                  </a:extLst>
                </a:gridCol>
                <a:gridCol w="1347491">
                  <a:extLst>
                    <a:ext uri="{9D8B030D-6E8A-4147-A177-3AD203B41FA5}">
                      <a16:colId xmlns:a16="http://schemas.microsoft.com/office/drawing/2014/main" val="3500582950"/>
                    </a:ext>
                  </a:extLst>
                </a:gridCol>
                <a:gridCol w="1347491">
                  <a:extLst>
                    <a:ext uri="{9D8B030D-6E8A-4147-A177-3AD203B41FA5}">
                      <a16:colId xmlns:a16="http://schemas.microsoft.com/office/drawing/2014/main" val="615123222"/>
                    </a:ext>
                  </a:extLst>
                </a:gridCol>
                <a:gridCol w="1410904">
                  <a:extLst>
                    <a:ext uri="{9D8B030D-6E8A-4147-A177-3AD203B41FA5}">
                      <a16:colId xmlns:a16="http://schemas.microsoft.com/office/drawing/2014/main" val="3535980548"/>
                    </a:ext>
                  </a:extLst>
                </a:gridCol>
                <a:gridCol w="1122383">
                  <a:extLst>
                    <a:ext uri="{9D8B030D-6E8A-4147-A177-3AD203B41FA5}">
                      <a16:colId xmlns:a16="http://schemas.microsoft.com/office/drawing/2014/main" val="94180230"/>
                    </a:ext>
                  </a:extLst>
                </a:gridCol>
                <a:gridCol w="1632843">
                  <a:extLst>
                    <a:ext uri="{9D8B030D-6E8A-4147-A177-3AD203B41FA5}">
                      <a16:colId xmlns:a16="http://schemas.microsoft.com/office/drawing/2014/main" val="4167060803"/>
                    </a:ext>
                  </a:extLst>
                </a:gridCol>
              </a:tblGrid>
              <a:tr h="209688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fekční oddělení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717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3857650"/>
                  </a:ext>
                </a:extLst>
              </a:tr>
              <a:tr h="216731">
                <a:tc gridSpan="7"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na Infekčním oddělení (ARO + JIP) v ČR k 3.12. 2021, 11:00 h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0743062"/>
                  </a:ext>
                </a:extLst>
              </a:tr>
              <a:tr h="191962"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83537684"/>
                  </a:ext>
                </a:extLst>
              </a:tr>
              <a:tr h="191962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IP na Infekčním oddělení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85358875"/>
                  </a:ext>
                </a:extLst>
              </a:tr>
              <a:tr h="749268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Covid+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Covid+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90317538"/>
                  </a:ext>
                </a:extLst>
              </a:tr>
              <a:tr h="1911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55692210"/>
                  </a:ext>
                </a:extLst>
              </a:tr>
              <a:tr h="1911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77529030"/>
                  </a:ext>
                </a:extLst>
              </a:tr>
              <a:tr h="1911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11584664"/>
                  </a:ext>
                </a:extLst>
              </a:tr>
              <a:tr h="1911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4145852"/>
                  </a:ext>
                </a:extLst>
              </a:tr>
              <a:tr h="1911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12490604"/>
                  </a:ext>
                </a:extLst>
              </a:tr>
              <a:tr h="1911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26004805"/>
                  </a:ext>
                </a:extLst>
              </a:tr>
              <a:tr h="1911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24940357"/>
                  </a:ext>
                </a:extLst>
              </a:tr>
              <a:tr h="1935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51960032"/>
                  </a:ext>
                </a:extLst>
              </a:tr>
              <a:tr h="1911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6076997"/>
                  </a:ext>
                </a:extLst>
              </a:tr>
              <a:tr h="1911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06388786"/>
                  </a:ext>
                </a:extLst>
              </a:tr>
              <a:tr h="1911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11649201"/>
                  </a:ext>
                </a:extLst>
              </a:tr>
              <a:tr h="1911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33341227"/>
                  </a:ext>
                </a:extLst>
              </a:tr>
              <a:tr h="1911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01623703"/>
                  </a:ext>
                </a:extLst>
              </a:tr>
              <a:tr h="1919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56573830"/>
                  </a:ext>
                </a:extLst>
              </a:tr>
              <a:tr h="20899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0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2189643"/>
                  </a:ext>
                </a:extLst>
              </a:tr>
              <a:tr h="191160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75853239"/>
                  </a:ext>
                </a:extLst>
              </a:tr>
              <a:tr h="191160"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03877344"/>
                  </a:ext>
                </a:extLst>
              </a:tr>
              <a:tr h="352961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elkových kapacit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4025186"/>
                  </a:ext>
                </a:extLst>
              </a:tr>
              <a:tr h="191160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x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510571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81235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0"/>
            <a:ext cx="9885238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9326849" y="2138810"/>
            <a:ext cx="2786020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Obsazená standardní</a:t>
            </a:r>
          </a:p>
          <a:p>
            <a:pPr algn="ctr"/>
            <a:r>
              <a:rPr lang="cs-CZ" b="1" dirty="0"/>
              <a:t> lůžka C+ </a:t>
            </a:r>
            <a:r>
              <a:rPr lang="cs-CZ" b="1" dirty="0" smtClean="0"/>
              <a:t>pacienty k </a:t>
            </a:r>
            <a:r>
              <a:rPr lang="cs-CZ" b="1" dirty="0" smtClean="0"/>
              <a:t>3.12.2021 </a:t>
            </a:r>
            <a:r>
              <a:rPr lang="cs-CZ" b="1" dirty="0" smtClean="0"/>
              <a:t>00:26</a:t>
            </a:r>
          </a:p>
          <a:p>
            <a:pPr algn="ctr"/>
            <a:endParaRPr lang="cs-CZ" b="1" dirty="0"/>
          </a:p>
          <a:p>
            <a:pPr algn="ctr"/>
            <a:r>
              <a:rPr lang="cs-CZ" sz="2000" b="1" dirty="0" smtClean="0"/>
              <a:t>5 </a:t>
            </a:r>
            <a:r>
              <a:rPr lang="cs-CZ" sz="2000" b="1" dirty="0" smtClean="0"/>
              <a:t>749</a:t>
            </a:r>
            <a:endParaRPr lang="cs-CZ" sz="2000" b="1" dirty="0"/>
          </a:p>
        </p:txBody>
      </p:sp>
      <p:sp>
        <p:nvSpPr>
          <p:cNvPr id="3" name="TextovéPole 2"/>
          <p:cNvSpPr txBox="1"/>
          <p:nvPr/>
        </p:nvSpPr>
        <p:spPr>
          <a:xfrm>
            <a:off x="9486005" y="4019099"/>
            <a:ext cx="246770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* Izolační </a:t>
            </a:r>
            <a:r>
              <a:rPr lang="cs-CZ" sz="1600" b="1" dirty="0" smtClean="0"/>
              <a:t>lůžka </a:t>
            </a:r>
            <a:r>
              <a:rPr lang="cs-CZ" sz="1600" b="1" dirty="0"/>
              <a:t>s kyslíkem jsou umístěna na standardních odděleních.</a:t>
            </a:r>
          </a:p>
        </p:txBody>
      </p:sp>
      <p:graphicFrame>
        <p:nvGraphicFramePr>
          <p:cNvPr id="6" name="Tabulk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58486527"/>
              </p:ext>
            </p:extLst>
          </p:nvPr>
        </p:nvGraphicFramePr>
        <p:xfrm>
          <a:off x="130630" y="998375"/>
          <a:ext cx="9274628" cy="5355759"/>
        </p:xfrm>
        <a:graphic>
          <a:graphicData uri="http://schemas.openxmlformats.org/drawingml/2006/table">
            <a:tbl>
              <a:tblPr/>
              <a:tblGrid>
                <a:gridCol w="2055884">
                  <a:extLst>
                    <a:ext uri="{9D8B030D-6E8A-4147-A177-3AD203B41FA5}">
                      <a16:colId xmlns:a16="http://schemas.microsoft.com/office/drawing/2014/main" val="214248608"/>
                    </a:ext>
                  </a:extLst>
                </a:gridCol>
                <a:gridCol w="1170901">
                  <a:extLst>
                    <a:ext uri="{9D8B030D-6E8A-4147-A177-3AD203B41FA5}">
                      <a16:colId xmlns:a16="http://schemas.microsoft.com/office/drawing/2014/main" val="1833693112"/>
                    </a:ext>
                  </a:extLst>
                </a:gridCol>
                <a:gridCol w="1157287">
                  <a:extLst>
                    <a:ext uri="{9D8B030D-6E8A-4147-A177-3AD203B41FA5}">
                      <a16:colId xmlns:a16="http://schemas.microsoft.com/office/drawing/2014/main" val="3121601555"/>
                    </a:ext>
                  </a:extLst>
                </a:gridCol>
                <a:gridCol w="1157287">
                  <a:extLst>
                    <a:ext uri="{9D8B030D-6E8A-4147-A177-3AD203B41FA5}">
                      <a16:colId xmlns:a16="http://schemas.microsoft.com/office/drawing/2014/main" val="769367624"/>
                    </a:ext>
                  </a:extLst>
                </a:gridCol>
                <a:gridCol w="1211746">
                  <a:extLst>
                    <a:ext uri="{9D8B030D-6E8A-4147-A177-3AD203B41FA5}">
                      <a16:colId xmlns:a16="http://schemas.microsoft.com/office/drawing/2014/main" val="2028638662"/>
                    </a:ext>
                  </a:extLst>
                </a:gridCol>
                <a:gridCol w="1402359">
                  <a:extLst>
                    <a:ext uri="{9D8B030D-6E8A-4147-A177-3AD203B41FA5}">
                      <a16:colId xmlns:a16="http://schemas.microsoft.com/office/drawing/2014/main" val="2760863810"/>
                    </a:ext>
                  </a:extLst>
                </a:gridCol>
                <a:gridCol w="1119164">
                  <a:extLst>
                    <a:ext uri="{9D8B030D-6E8A-4147-A177-3AD203B41FA5}">
                      <a16:colId xmlns:a16="http://schemas.microsoft.com/office/drawing/2014/main" val="960016336"/>
                    </a:ext>
                  </a:extLst>
                </a:gridCol>
              </a:tblGrid>
              <a:tr h="225649"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infekční a infekční oddělení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49667396"/>
                  </a:ext>
                </a:extLst>
              </a:tr>
              <a:tr h="225649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standardních lůžek s přívodem kyslíku v ČR k 3.12. 2021, 11:00 h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1262828"/>
                  </a:ext>
                </a:extLst>
              </a:tr>
              <a:tr h="1998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35161637"/>
                  </a:ext>
                </a:extLst>
              </a:tr>
              <a:tr h="225649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dní lůžka s O</a:t>
                      </a:r>
                      <a:r>
                        <a:rPr lang="cs-CZ" sz="12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pl-PL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tní lůžka na Infekčním oddělení s O</a:t>
                      </a:r>
                      <a:r>
                        <a:rPr lang="pl-PL" sz="12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pl-PL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7422485"/>
                  </a:ext>
                </a:extLst>
              </a:tr>
              <a:tr h="586686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standardní lůžka 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na Infekčním oddělení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6179510"/>
                  </a:ext>
                </a:extLst>
              </a:tr>
              <a:tr h="19341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39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0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0090373"/>
                  </a:ext>
                </a:extLst>
              </a:tr>
              <a:tr h="19341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59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0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5639577"/>
                  </a:ext>
                </a:extLst>
              </a:tr>
              <a:tr h="19341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34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5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5987221"/>
                  </a:ext>
                </a:extLst>
              </a:tr>
              <a:tr h="19341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07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2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905102"/>
                  </a:ext>
                </a:extLst>
              </a:tr>
              <a:tr h="19341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8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09630484"/>
                  </a:ext>
                </a:extLst>
              </a:tr>
              <a:tr h="19341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96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6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8744133"/>
                  </a:ext>
                </a:extLst>
              </a:tr>
              <a:tr h="19341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3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6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737787"/>
                  </a:ext>
                </a:extLst>
              </a:tr>
              <a:tr h="19341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94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8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5212239"/>
                  </a:ext>
                </a:extLst>
              </a:tr>
              <a:tr h="19341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1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4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40593"/>
                  </a:ext>
                </a:extLst>
              </a:tr>
              <a:tr h="19341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39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8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3767119"/>
                  </a:ext>
                </a:extLst>
              </a:tr>
              <a:tr h="19341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16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0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5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604743"/>
                  </a:ext>
                </a:extLst>
              </a:tr>
              <a:tr h="19341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58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8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828135"/>
                  </a:ext>
                </a:extLst>
              </a:tr>
              <a:tr h="19341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4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6292372"/>
                  </a:ext>
                </a:extLst>
              </a:tr>
              <a:tr h="19986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24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8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57307157"/>
                  </a:ext>
                </a:extLst>
              </a:tr>
              <a:tr h="21759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712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13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84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56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5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6151962"/>
                  </a:ext>
                </a:extLst>
              </a:tr>
              <a:tr h="193413">
                <a:tc gridSpan="7"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53691791"/>
                  </a:ext>
                </a:extLst>
              </a:tr>
              <a:tr h="193356"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8305990"/>
                  </a:ext>
                </a:extLst>
              </a:tr>
              <a:tr h="38026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ých kapacit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62224319"/>
                  </a:ext>
                </a:extLst>
              </a:tr>
              <a:tr h="193413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s aktualizací starší 48 hod.: 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x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188586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943164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Neaktualizovaná ZZ v DIP déle než 48 h</a:t>
            </a:r>
            <a:endParaRPr lang="cs-CZ" dirty="0"/>
          </a:p>
        </p:txBody>
      </p:sp>
      <p:sp>
        <p:nvSpPr>
          <p:cNvPr id="6" name="TextovéPole 5"/>
          <p:cNvSpPr txBox="1"/>
          <p:nvPr/>
        </p:nvSpPr>
        <p:spPr>
          <a:xfrm>
            <a:off x="8617671" y="4968723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</a:t>
            </a:r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12.2021 </a:t>
            </a:r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:30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ovéPole 6"/>
          <p:cNvSpPr txBox="1"/>
          <p:nvPr/>
        </p:nvSpPr>
        <p:spPr>
          <a:xfrm>
            <a:off x="8617671" y="2809292"/>
            <a:ext cx="273319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smtClean="0"/>
              <a:t>Žádáme všechny ZZ o aktualizaci volných lůžkových kapacit každý den i během víkendů.</a:t>
            </a:r>
            <a:endParaRPr lang="cs-CZ" dirty="0"/>
          </a:p>
        </p:txBody>
      </p:sp>
      <p:graphicFrame>
        <p:nvGraphicFramePr>
          <p:cNvPr id="8" name="Tabulk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86938482"/>
              </p:ext>
            </p:extLst>
          </p:nvPr>
        </p:nvGraphicFramePr>
        <p:xfrm>
          <a:off x="1283679" y="2182636"/>
          <a:ext cx="6284256" cy="2453640"/>
        </p:xfrm>
        <a:graphic>
          <a:graphicData uri="http://schemas.openxmlformats.org/drawingml/2006/table">
            <a:tbl>
              <a:tblPr/>
              <a:tblGrid>
                <a:gridCol w="3894991">
                  <a:extLst>
                    <a:ext uri="{9D8B030D-6E8A-4147-A177-3AD203B41FA5}">
                      <a16:colId xmlns:a16="http://schemas.microsoft.com/office/drawing/2014/main" val="2051997318"/>
                    </a:ext>
                  </a:extLst>
                </a:gridCol>
                <a:gridCol w="639751">
                  <a:extLst>
                    <a:ext uri="{9D8B030D-6E8A-4147-A177-3AD203B41FA5}">
                      <a16:colId xmlns:a16="http://schemas.microsoft.com/office/drawing/2014/main" val="269377338"/>
                    </a:ext>
                  </a:extLst>
                </a:gridCol>
                <a:gridCol w="1749514">
                  <a:extLst>
                    <a:ext uri="{9D8B030D-6E8A-4147-A177-3AD203B41FA5}">
                      <a16:colId xmlns:a16="http://schemas.microsoft.com/office/drawing/2014/main" val="3451513042"/>
                    </a:ext>
                  </a:extLst>
                </a:gridCol>
              </a:tblGrid>
              <a:tr h="3505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dravotnické zařízení</a:t>
                      </a:r>
                    </a:p>
                  </a:txBody>
                  <a:tcPr marL="7897" marR="7897" marT="78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</a:p>
                  </a:txBody>
                  <a:tcPr marL="7897" marR="7897" marT="78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ktualizace</a:t>
                      </a:r>
                    </a:p>
                  </a:txBody>
                  <a:tcPr marL="7897" marR="7897" marT="78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9D08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6865181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Z, a.s., Nemocnice Děčín, </a:t>
                      </a:r>
                      <a:r>
                        <a:rPr lang="cs-CZ" sz="13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.z</a:t>
                      </a:r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.</a:t>
                      </a: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745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LK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745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3.11.2021 11:58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745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9403024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Žatec, o.p.s.</a:t>
                      </a: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LK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.11.2021 8:02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8213911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ve Frýdku-Místku, příspěvková organizace</a:t>
                      </a: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SK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.11.2021 9:07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46366635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Žatec, o.p.s.</a:t>
                      </a: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LK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.11.2021 8:02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34186981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pl-PL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s poliklinikou Karviná-Ráj, p. o.</a:t>
                      </a: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S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.11.2021 11:27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31651095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pl-PL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ehab. Nemocnice Beroun Jessenia</a:t>
                      </a:r>
                      <a:endParaRPr lang="pl-PL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Č</a:t>
                      </a:r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.11.2021. 8:08</a:t>
                      </a:r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6698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1945929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10565894" cy="576000"/>
          </a:xfrm>
        </p:spPr>
        <p:txBody>
          <a:bodyPr/>
          <a:lstStyle/>
          <a:p>
            <a:r>
              <a:rPr lang="en-US" dirty="0" err="1"/>
              <a:t>Podíl</a:t>
            </a:r>
            <a:r>
              <a:rPr lang="en-US" dirty="0"/>
              <a:t> (%) </a:t>
            </a:r>
            <a:r>
              <a:rPr lang="en-US" dirty="0" err="1"/>
              <a:t>volné</a:t>
            </a:r>
            <a:r>
              <a:rPr lang="en-US" dirty="0"/>
              <a:t> </a:t>
            </a:r>
            <a:r>
              <a:rPr lang="en-US" dirty="0" err="1"/>
              <a:t>aktuálně</a:t>
            </a:r>
            <a:r>
              <a:rPr lang="en-US" dirty="0"/>
              <a:t> </a:t>
            </a:r>
            <a:r>
              <a:rPr lang="en-US" dirty="0" err="1"/>
              <a:t>nahlášené</a:t>
            </a:r>
            <a:r>
              <a:rPr lang="en-US" dirty="0"/>
              <a:t> </a:t>
            </a:r>
            <a:r>
              <a:rPr lang="en-US" dirty="0" err="1"/>
              <a:t>kapacity</a:t>
            </a:r>
            <a:r>
              <a:rPr lang="en-US" dirty="0"/>
              <a:t> </a:t>
            </a:r>
            <a:r>
              <a:rPr lang="cs-CZ" dirty="0"/>
              <a:t>standartních lůžek s kyslíkem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FD8EDC8-39AC-4878-B921-4F6635FE7621}"/>
              </a:ext>
            </a:extLst>
          </p:cNvPr>
          <p:cNvGraphicFramePr/>
          <p:nvPr>
            <p:custDataLst>
              <p:tags r:id="rId2"/>
            </p:custDataLst>
            <p:extLst/>
          </p:nvPr>
        </p:nvGraphicFramePr>
        <p:xfrm>
          <a:off x="679061" y="1186197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C6038F74-6802-471B-A77B-176FE0683DE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040815" y="816865"/>
            <a:ext cx="580864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odíl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(%)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olné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ktuálně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ahlášené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apacity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ůžek s kyslíkem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5" name="TextovéPole 4"/>
          <p:cNvSpPr txBox="1"/>
          <p:nvPr/>
        </p:nvSpPr>
        <p:spPr>
          <a:xfrm>
            <a:off x="8617671" y="4968723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2.12.2021 0:26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314864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10565894" cy="576000"/>
          </a:xfrm>
        </p:spPr>
        <p:txBody>
          <a:bodyPr/>
          <a:lstStyle/>
          <a:p>
            <a:r>
              <a:rPr lang="en-US" dirty="0" err="1"/>
              <a:t>Podíl</a:t>
            </a:r>
            <a:r>
              <a:rPr lang="en-US" dirty="0"/>
              <a:t> (%) </a:t>
            </a:r>
            <a:r>
              <a:rPr lang="en-US" dirty="0" err="1"/>
              <a:t>volné</a:t>
            </a:r>
            <a:r>
              <a:rPr lang="en-US" dirty="0"/>
              <a:t> </a:t>
            </a:r>
            <a:r>
              <a:rPr lang="en-US" dirty="0" err="1"/>
              <a:t>aktuálně</a:t>
            </a:r>
            <a:r>
              <a:rPr lang="en-US" dirty="0"/>
              <a:t> </a:t>
            </a:r>
            <a:r>
              <a:rPr lang="en-US" dirty="0" err="1"/>
              <a:t>nahlášené</a:t>
            </a:r>
            <a:r>
              <a:rPr lang="en-US" dirty="0"/>
              <a:t> </a:t>
            </a:r>
            <a:r>
              <a:rPr lang="en-US" dirty="0" err="1"/>
              <a:t>kapacity</a:t>
            </a:r>
            <a:r>
              <a:rPr lang="en-US" dirty="0"/>
              <a:t> JIP</a:t>
            </a:r>
            <a:endParaRPr lang="cs-CZ" dirty="0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FD8EDC8-39AC-4878-B921-4F6635FE7621}"/>
              </a:ext>
            </a:extLst>
          </p:cNvPr>
          <p:cNvGraphicFramePr/>
          <p:nvPr>
            <p:custDataLst>
              <p:tags r:id="rId2"/>
            </p:custDataLst>
            <p:extLst/>
          </p:nvPr>
        </p:nvGraphicFramePr>
        <p:xfrm>
          <a:off x="679061" y="1186197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C6038F74-6802-471B-A77B-176FE0683DE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040815" y="816865"/>
            <a:ext cx="469211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odíl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(%)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olné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ktuálně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ahlášené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apacity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JIP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5" name="TextovéPole 4"/>
          <p:cNvSpPr txBox="1"/>
          <p:nvPr/>
        </p:nvSpPr>
        <p:spPr>
          <a:xfrm>
            <a:off x="9782651" y="4500230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</a:t>
            </a:r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12.2021 </a:t>
            </a:r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13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6" name="Tabulk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37870221"/>
              </p:ext>
            </p:extLst>
          </p:nvPr>
        </p:nvGraphicFramePr>
        <p:xfrm>
          <a:off x="7905494" y="3328749"/>
          <a:ext cx="3754315" cy="1005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00300">
                  <a:extLst>
                    <a:ext uri="{9D8B030D-6E8A-4147-A177-3AD203B41FA5}">
                      <a16:colId xmlns:a16="http://schemas.microsoft.com/office/drawing/2014/main" val="2209585095"/>
                    </a:ext>
                  </a:extLst>
                </a:gridCol>
                <a:gridCol w="1354015">
                  <a:extLst>
                    <a:ext uri="{9D8B030D-6E8A-4147-A177-3AD203B41FA5}">
                      <a16:colId xmlns:a16="http://schemas.microsoft.com/office/drawing/2014/main" val="3513835546"/>
                    </a:ext>
                  </a:extLst>
                </a:gridCol>
              </a:tblGrid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elková kapacit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15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8489001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olná kapacit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6,3 </a:t>
                      </a:r>
                      <a:r>
                        <a:rPr lang="cs-CZ" sz="1600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%</a:t>
                      </a:r>
                      <a:endParaRPr lang="cs-CZ" sz="16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4842585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bsazenost C+ pac. n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baseline="0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5,9 %</a:t>
                      </a:r>
                      <a:endParaRPr lang="cs-CZ" sz="16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753387"/>
                  </a:ext>
                </a:extLst>
              </a:tr>
            </a:tbl>
          </a:graphicData>
        </a:graphic>
      </p:graphicFrame>
      <p:sp>
        <p:nvSpPr>
          <p:cNvPr id="10" name="TextovéPole 9"/>
          <p:cNvSpPr txBox="1"/>
          <p:nvPr/>
        </p:nvSpPr>
        <p:spPr>
          <a:xfrm>
            <a:off x="4841884" y="5958533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</a:t>
            </a:r>
            <a:r>
              <a:rPr lang="cs-CZ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12.2021 </a:t>
            </a:r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:26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024279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10565894" cy="576000"/>
          </a:xfrm>
        </p:spPr>
        <p:txBody>
          <a:bodyPr/>
          <a:lstStyle/>
          <a:p>
            <a:r>
              <a:rPr lang="en-US" dirty="0" err="1"/>
              <a:t>Podíl</a:t>
            </a:r>
            <a:r>
              <a:rPr lang="en-US" dirty="0"/>
              <a:t> (%) </a:t>
            </a:r>
            <a:r>
              <a:rPr lang="en-US" dirty="0" err="1"/>
              <a:t>volné</a:t>
            </a:r>
            <a:r>
              <a:rPr lang="en-US" dirty="0"/>
              <a:t> </a:t>
            </a:r>
            <a:r>
              <a:rPr lang="en-US" dirty="0" err="1"/>
              <a:t>aktuálně</a:t>
            </a:r>
            <a:r>
              <a:rPr lang="en-US" dirty="0"/>
              <a:t> </a:t>
            </a:r>
            <a:r>
              <a:rPr lang="en-US" dirty="0" err="1"/>
              <a:t>nahlášené</a:t>
            </a:r>
            <a:r>
              <a:rPr lang="en-US" dirty="0"/>
              <a:t> </a:t>
            </a:r>
            <a:r>
              <a:rPr lang="en-US" dirty="0" err="1"/>
              <a:t>kapacity</a:t>
            </a:r>
            <a:r>
              <a:rPr lang="en-US" dirty="0"/>
              <a:t> </a:t>
            </a:r>
            <a:r>
              <a:rPr lang="cs-CZ" dirty="0"/>
              <a:t>UPV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FD8EDC8-39AC-4878-B921-4F6635FE7621}"/>
              </a:ext>
            </a:extLst>
          </p:cNvPr>
          <p:cNvGraphicFramePr/>
          <p:nvPr>
            <p:custDataLst>
              <p:tags r:id="rId2"/>
            </p:custDataLst>
            <p:extLst/>
          </p:nvPr>
        </p:nvGraphicFramePr>
        <p:xfrm>
          <a:off x="679061" y="1186197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C6038F74-6802-471B-A77B-176FE0683DE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040815" y="816865"/>
            <a:ext cx="472372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odíl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(%)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olné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ktuálně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ahlášené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apacity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UPV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5" name="TextovéPole 4"/>
          <p:cNvSpPr txBox="1"/>
          <p:nvPr/>
        </p:nvSpPr>
        <p:spPr>
          <a:xfrm>
            <a:off x="8617671" y="4968723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2.12.2021 0:26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180800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10/2021–11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Česká republika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 rot="16200000">
            <a:off x="-1294223" y="3762664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/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graphicFrame>
        <p:nvGraphicFramePr>
          <p:cNvPr id="27" name="Tabulka 6">
            <a:extLst>
              <a:ext uri="{FF2B5EF4-FFF2-40B4-BE49-F238E27FC236}">
                <a16:creationId xmlns:a16="http://schemas.microsoft.com/office/drawing/2014/main" id="{71CF6092-C670-4948-A90F-E8887AF6CCD0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275570" y="1059502"/>
          <a:ext cx="5760000" cy="194554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0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0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0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7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9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4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4,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 44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 04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9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28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08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3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7 00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 66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2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 13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2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 92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3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5 486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8D56B7B0-37BD-4AA9-8F59-CBA3F8B0CB41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479685"/>
            <a:ext cx="222578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a rozsah pravděpodobnostních predikcí 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E876DBC7-988F-44BE-AD05-9B150284BBDB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1" name="Skupina 20">
              <a:extLst>
                <a:ext uri="{FF2B5EF4-FFF2-40B4-BE49-F238E27FC236}">
                  <a16:creationId xmlns:a16="http://schemas.microsoft.com/office/drawing/2014/main" id="{09245847-46EF-424D-AB8A-6EE135F24846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0" name="Přímá spojnice 29">
                <a:extLst>
                  <a:ext uri="{FF2B5EF4-FFF2-40B4-BE49-F238E27FC236}">
                    <a16:creationId xmlns:a16="http://schemas.microsoft.com/office/drawing/2014/main" id="{25BA30A9-728F-4407-8B52-0A716F7F664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3" name="Přímá spojnice 32">
                <a:extLst>
                  <a:ext uri="{FF2B5EF4-FFF2-40B4-BE49-F238E27FC236}">
                    <a16:creationId xmlns:a16="http://schemas.microsoft.com/office/drawing/2014/main" id="{CEC84D62-881C-4471-9C69-71F14E68F37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7" name="Obdélník 36">
                <a:extLst>
                  <a:ext uri="{FF2B5EF4-FFF2-40B4-BE49-F238E27FC236}">
                    <a16:creationId xmlns:a16="http://schemas.microsoft.com/office/drawing/2014/main" id="{F80D990D-FF88-4FC5-8A0B-C137D6E84E93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9" name="TextovéPole 28">
                <a:extLst>
                  <a:ext uri="{FF2B5EF4-FFF2-40B4-BE49-F238E27FC236}">
                    <a16:creationId xmlns:a16="http://schemas.microsoft.com/office/drawing/2014/main" id="{5C418FF4-F987-4FE3-BB5C-594BE788F689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>
                  <a:defRPr/>
                </a:pPr>
                <a:r>
                  <a:rPr lang="cs-CZ" sz="1200" kern="0" dirty="0">
                    <a:solidFill>
                      <a:srgbClr val="000000"/>
                    </a:solidFill>
                  </a:rPr>
                  <a:t>Reálné hodnoty</a:t>
                </a:r>
              </a:p>
              <a:p>
                <a:pPr lvl="0">
                  <a:defRPr/>
                </a:pP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horní hranice predikce </a:t>
                </a: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střední hodnoty predikce</a:t>
                </a:r>
              </a:p>
              <a:p>
                <a:pPr lvl="0">
                  <a:defRPr/>
                </a:pP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spodní hranice predikce </a:t>
                </a:r>
                <a:endParaRPr lang="cs-CZ" sz="1200" u="sng" dirty="0">
                  <a:solidFill>
                    <a:srgbClr val="000000"/>
                  </a:solidFill>
                  <a:cs typeface="Calibri" panose="020F0502020204030204" pitchFamily="34" charset="0"/>
                </a:endParaRPr>
              </a:p>
              <a:p>
                <a:pPr lvl="0">
                  <a:defRPr/>
                </a:pPr>
                <a:endParaRPr lang="cs-CZ" sz="1200" u="sng" dirty="0">
                  <a:solidFill>
                    <a:srgbClr val="000000"/>
                  </a:solidFill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B49DD718-7D02-450E-828C-6AE0A49363B0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28" name="TextovéPole 27"/>
          <p:cNvSpPr txBox="1"/>
          <p:nvPr/>
        </p:nvSpPr>
        <p:spPr>
          <a:xfrm>
            <a:off x="9811036" y="5919571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1.12.2021 0:26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929147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reporting-20200715" id="{379A0E5D-63B7-482A-BD5E-A4CD691F8FBC}" vid="{74C76523-B6A0-4B86-942B-0A5EF321F495}"/>
    </a:ext>
  </a:extLst>
</a:theme>
</file>

<file path=ppt/theme/theme2.xml><?xml version="1.0" encoding="utf-8"?>
<a:theme xmlns:a="http://schemas.openxmlformats.org/drawingml/2006/main" name="1_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+Sagoe">
      <a:majorFont>
        <a:latin typeface="Arial"/>
        <a:ea typeface=""/>
        <a:cs typeface=""/>
      </a:majorFont>
      <a:minorFont>
        <a:latin typeface="Segoe UI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covid-reporting-20200715</Template>
  <TotalTime>22116</TotalTime>
  <Words>2527</Words>
  <Application>Microsoft Office PowerPoint</Application>
  <PresentationFormat>Širokoúhlá obrazovka</PresentationFormat>
  <Paragraphs>683</Paragraphs>
  <Slides>16</Slides>
  <Notes>3</Notes>
  <HiddenSlides>0</HiddenSlides>
  <MMClips>0</MMClips>
  <ScaleCrop>false</ScaleCrop>
  <HeadingPairs>
    <vt:vector size="6" baseType="variant">
      <vt:variant>
        <vt:lpstr>Použitá písma</vt:lpstr>
      </vt:variant>
      <vt:variant>
        <vt:i4>7</vt:i4>
      </vt:variant>
      <vt:variant>
        <vt:lpstr>Motiv</vt:lpstr>
      </vt:variant>
      <vt:variant>
        <vt:i4>3</vt:i4>
      </vt:variant>
      <vt:variant>
        <vt:lpstr>Nadpisy snímků</vt:lpstr>
      </vt:variant>
      <vt:variant>
        <vt:i4>16</vt:i4>
      </vt:variant>
    </vt:vector>
  </HeadingPairs>
  <TitlesOfParts>
    <vt:vector size="26" baseType="lpstr">
      <vt:lpstr>Arial</vt:lpstr>
      <vt:lpstr>Arial Black</vt:lpstr>
      <vt:lpstr>Calibri</vt:lpstr>
      <vt:lpstr>Calibri Light</vt:lpstr>
      <vt:lpstr>Segoe UI</vt:lpstr>
      <vt:lpstr>Times New Roman</vt:lpstr>
      <vt:lpstr>Tw Cen MT Condensed</vt:lpstr>
      <vt:lpstr>Motiv Office</vt:lpstr>
      <vt:lpstr>1_Motiv Office</vt:lpstr>
      <vt:lpstr>Office Theme</vt:lpstr>
      <vt:lpstr>Operační briefing ICŘT   Národní dispečink lůžkové péče </vt:lpstr>
      <vt:lpstr>Národní dispečink lůžkové péče</vt:lpstr>
      <vt:lpstr>Národní dispečink lůžkové péče</vt:lpstr>
      <vt:lpstr>Národní dispečink lůžkové péče</vt:lpstr>
      <vt:lpstr>Neaktualizovaná ZZ v DIP déle než 48 h</vt:lpstr>
      <vt:lpstr>Podíl (%) volné aktuálně nahlášené kapacity standartních lůžek s kyslíkem</vt:lpstr>
      <vt:lpstr>Podíl (%) volné aktuálně nahlášené kapacity JIP</vt:lpstr>
      <vt:lpstr>Podíl (%) volné aktuálně nahlášené kapacity UPV</vt:lpstr>
      <vt:lpstr>Predikce celkového počtu hospitalizací – aktuální počet léčených </vt:lpstr>
      <vt:lpstr>Predikce počtu pacientů na JIP – aktuální počet případů </vt:lpstr>
      <vt:lpstr>VÝVOJ POČTU HOSPITALIZACÍ – CELKOVÉ A JIP – OD BŘEZNA 2020 zdroj: ÚZIS, ISIN / COVID-19 - Informační systém infekčních nemocí</vt:lpstr>
      <vt:lpstr>Risk mapping – zdroj UZIS </vt:lpstr>
      <vt:lpstr>Hodnocení situace v krajích od KKIP</vt:lpstr>
      <vt:lpstr>Hodnocení situace v krajích od KKIP</vt:lpstr>
      <vt:lpstr>Hodnocení situace v krajích od KKIP</vt:lpstr>
      <vt:lpstr>Hodnocení situace v krajích od KKIP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užík Jan RNDr. Ph.D.</dc:creator>
  <cp:lastModifiedBy>Milan Havránek</cp:lastModifiedBy>
  <cp:revision>1625</cp:revision>
  <cp:lastPrinted>2020-10-20T04:21:56Z</cp:lastPrinted>
  <dcterms:created xsi:type="dcterms:W3CDTF">2020-07-15T10:33:32Z</dcterms:created>
  <dcterms:modified xsi:type="dcterms:W3CDTF">2021-12-03T10:01:51Z</dcterms:modified>
</cp:coreProperties>
</file>